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5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6.xml" ContentType="application/vnd.openxmlformats-officedocument.theme+xml"/>
  <Override PartName="/ppt/slideLayouts/slideLayout23.xml" ContentType="application/vnd.openxmlformats-officedocument.presentationml.slideLayout+xml"/>
  <Override PartName="/ppt/theme/theme7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868" r:id="rId25"/>
    <p:sldMasterId id="2147484022" r:id="rId26"/>
    <p:sldMasterId id="2147484050" r:id="rId27"/>
    <p:sldMasterId id="2147484065" r:id="rId28"/>
    <p:sldMasterId id="2147484067" r:id="rId29"/>
    <p:sldMasterId id="2147484093" r:id="rId30"/>
    <p:sldMasterId id="2147484107" r:id="rId31"/>
    <p:sldMasterId id="2147484134" r:id="rId32"/>
    <p:sldMasterId id="2147484163" r:id="rId33"/>
    <p:sldMasterId id="2147484188" r:id="rId34"/>
  </p:sldMasterIdLst>
  <p:notesMasterIdLst>
    <p:notesMasterId r:id="rId49"/>
  </p:notesMasterIdLst>
  <p:handoutMasterIdLst>
    <p:handoutMasterId r:id="rId50"/>
  </p:handoutMasterIdLst>
  <p:sldIdLst>
    <p:sldId id="431" r:id="rId35"/>
    <p:sldId id="3164" r:id="rId36"/>
    <p:sldId id="3166" r:id="rId37"/>
    <p:sldId id="1380" r:id="rId38"/>
    <p:sldId id="1342" r:id="rId39"/>
    <p:sldId id="1343" r:id="rId40"/>
    <p:sldId id="1344" r:id="rId41"/>
    <p:sldId id="1345" r:id="rId42"/>
    <p:sldId id="1370" r:id="rId43"/>
    <p:sldId id="1372" r:id="rId44"/>
    <p:sldId id="1373" r:id="rId45"/>
    <p:sldId id="3163" r:id="rId46"/>
    <p:sldId id="1369" r:id="rId47"/>
    <p:sldId id="734" r:id="rId48"/>
  </p:sldIdLst>
  <p:sldSz cx="9144000" cy="5143500" type="screen16x9"/>
  <p:notesSz cx="7077075" cy="905192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+mn-lt"/>
        <a:ea typeface="+mn-ea"/>
        <a:cs typeface="+mn-cs"/>
      </a:defRPr>
    </a:lvl1pPr>
    <a:lvl2pPr marL="45683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+mn-lt"/>
        <a:ea typeface="+mn-ea"/>
        <a:cs typeface="+mn-cs"/>
      </a:defRPr>
    </a:lvl2pPr>
    <a:lvl3pPr marL="91367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+mn-lt"/>
        <a:ea typeface="+mn-ea"/>
        <a:cs typeface="+mn-cs"/>
      </a:defRPr>
    </a:lvl3pPr>
    <a:lvl4pPr marL="1370505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+mn-lt"/>
        <a:ea typeface="+mn-ea"/>
        <a:cs typeface="+mn-cs"/>
      </a:defRPr>
    </a:lvl4pPr>
    <a:lvl5pPr marL="1827336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+mn-lt"/>
        <a:ea typeface="+mn-ea"/>
        <a:cs typeface="+mn-cs"/>
      </a:defRPr>
    </a:lvl5pPr>
    <a:lvl6pPr marL="2284166" algn="l" defTabSz="913670" rtl="0" eaLnBrk="1" latinLnBrk="0" hangingPunct="1">
      <a:defRPr kern="1200">
        <a:solidFill>
          <a:schemeClr val="tx1"/>
        </a:solidFill>
        <a:latin typeface="+mn-lt"/>
        <a:ea typeface="+mn-ea"/>
        <a:cs typeface="+mn-cs"/>
      </a:defRPr>
    </a:lvl6pPr>
    <a:lvl7pPr marL="2741009" algn="l" defTabSz="913670" rtl="0" eaLnBrk="1" latinLnBrk="0" hangingPunct="1">
      <a:defRPr kern="1200">
        <a:solidFill>
          <a:schemeClr val="tx1"/>
        </a:solidFill>
        <a:latin typeface="+mn-lt"/>
        <a:ea typeface="+mn-ea"/>
        <a:cs typeface="+mn-cs"/>
      </a:defRPr>
    </a:lvl7pPr>
    <a:lvl8pPr marL="3197838" algn="l" defTabSz="913670" rtl="0" eaLnBrk="1" latinLnBrk="0" hangingPunct="1">
      <a:defRPr kern="1200">
        <a:solidFill>
          <a:schemeClr val="tx1"/>
        </a:solidFill>
        <a:latin typeface="+mn-lt"/>
        <a:ea typeface="+mn-ea"/>
        <a:cs typeface="+mn-cs"/>
      </a:defRPr>
    </a:lvl8pPr>
    <a:lvl9pPr marL="3654669" algn="l" defTabSz="913670" rtl="0" eaLnBrk="1" latinLnBrk="0" hangingPunct="1">
      <a:defRPr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un Young (Zum Communications)" initials="JY(C" lastIdx="1" clrIdx="0"/>
  <p:cmAuthor id="1" name="Tina Aarsvold" initials="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A365D1"/>
    <a:srgbClr val="23434D"/>
    <a:srgbClr val="5395C9"/>
    <a:srgbClr val="FFCC66"/>
    <a:srgbClr val="000000"/>
    <a:srgbClr val="434C57"/>
    <a:srgbClr val="A4A5A9"/>
    <a:srgbClr val="CFD1D4"/>
    <a:srgbClr val="575D6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416A639A-1315-4925-A9F9-0ACB125E9685}">
  <a:tblStyle styleId="{B482DE17-1FC4-41D7-B2E8-05BAB7828703}" styleName="Custom Table Style 1">
    <a:tblBg>
      <a:effect>
        <a:effectLst/>
      </a:effect>
    </a:tblBg>
    <a:wholeTbl>
      <a:tcTxStyle b="off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TxStyle b="off" i="off">
        <a:fontRef idx="minor"/>
        <a:schemeClr val="tx1"/>
      </a:tcTxStyle>
      <a:tcStyle>
        <a:tcBdr/>
        <a:fill>
          <a:noFill/>
        </a:fill>
      </a:tcStyle>
    </a:band1H>
    <a:band2H>
      <a:tcTxStyle b="off" i="off">
        <a:fontRef idx="minor"/>
        <a:schemeClr val="tx1"/>
      </a:tcTxStyle>
      <a:tcStyle>
        <a:tcBdr/>
        <a:fill>
          <a:noFill/>
        </a:fill>
      </a:tcStyle>
    </a:band2H>
    <a:band1V>
      <a:tcTxStyle b="off" i="off">
        <a:fontRef idx="minor"/>
        <a:schemeClr val="tx1"/>
      </a:tcTxStyle>
      <a:tcStyle>
        <a:tcBdr/>
        <a:fill>
          <a:solidFill>
            <a:schemeClr val="accent2">
              <a:alpha val="25000"/>
            </a:schemeClr>
          </a:solidFill>
        </a:fill>
      </a:tcStyle>
    </a:band1V>
    <a:band2V>
      <a:tcTxStyle b="off" i="off">
        <a:fontRef idx="minor"/>
        <a:schemeClr val="tx1"/>
      </a:tcTxStyle>
      <a:tcStyle>
        <a:tcBdr/>
        <a:fill>
          <a:noFill/>
        </a:fill>
      </a:tcStyle>
    </a:band2V>
    <a:firstCol>
      <a:tcTxStyle b="on" i="off">
        <a:fontRef idx="minor"/>
        <a:schemeClr val="accent1"/>
      </a:tcTxStyle>
      <a:tcStyle>
        <a:tcBdr/>
        <a:fill>
          <a:noFill/>
        </a:fill>
      </a:tcStyle>
    </a:firstCol>
    <a:lastRow>
      <a:tcTxStyle b="on" i="off">
        <a:fontRef idx="minor"/>
        <a:schemeClr val="lt2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solidFill>
            <a:schemeClr val="dk1"/>
          </a:solidFill>
        </a:fill>
      </a:tcStyle>
    </a:lastRow>
    <a:fir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25400" cap="flat" cmpd="sng" algn="ctr">
              <a:solidFill>
                <a:schemeClr val="accent1"/>
              </a:solidFill>
              <a:prstDash val="solid"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firstRow>
  </a:tblStyle>
  <a:tblStyle styleId="{416A639A-1315-4925-A9F9-0ACB125E9685}" styleName="Custom Table Style 2">
    <a:tblBg>
      <a:effect>
        <a:effectLst/>
      </a:effect>
    </a:tblBg>
    <a:wholeTbl>
      <a:tcTxStyle b="off" i="off"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16933" cap="rnd" cmpd="sng" algn="ctr">
              <a:solidFill>
                <a:schemeClr val="accent2"/>
              </a:solidFill>
              <a:prstDash val="sysDot"/>
            </a:ln>
          </a:bottom>
          <a:insideH>
            <a:ln w="16933" cap="rnd" cmpd="sng" algn="ctr">
              <a:solidFill>
                <a:schemeClr val="accent2"/>
              </a:solidFill>
              <a:prstDash val="sysDot"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wholeTbl>
    <a:band1H>
      <a:tcTxStyle b="off" i="off">
        <a:fontRef idx="minor"/>
        <a:schemeClr val="tx1"/>
      </a:tcTxStyle>
      <a:tcStyle>
        <a:tcBdr/>
        <a:fill>
          <a:solidFill>
            <a:schemeClr val="accent2">
              <a:alpha val="25000"/>
            </a:schemeClr>
          </a:solidFill>
        </a:fill>
      </a:tcStyle>
    </a:band1H>
    <a:band2H>
      <a:tcTxStyle b="off" i="off">
        <a:fontRef idx="minor"/>
        <a:schemeClr val="tx1"/>
      </a:tcTxStyle>
      <a:tcStyle>
        <a:tcBdr/>
        <a:fill>
          <a:noFill/>
        </a:fill>
      </a:tcStyle>
    </a:band2H>
    <a:firstCol>
      <a:tcTxStyle b="on" i="off">
        <a:fontRef idx="minor"/>
        <a:schemeClr val="lt2"/>
      </a:tcTxStyle>
      <a:tcStyle>
        <a:tcBdr/>
        <a:fill>
          <a:solidFill>
            <a:schemeClr val="dk1">
              <a:shade val="50000"/>
            </a:schemeClr>
          </a:solidFill>
        </a:fill>
      </a:tcStyle>
    </a:firstCol>
    <a:lastRow>
      <a:tcTxStyle b="on" i="off">
        <a:fontRef idx="minor"/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38100" cap="flat" cmpd="sng" algn="ctr">
              <a:solidFill>
                <a:schemeClr val="accent1"/>
              </a:solidFill>
              <a:prstDash val="solid"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  <a:tl2br>
            <a:ln>
              <a:noFill/>
            </a:ln>
          </a:tl2br>
          <a:tr2bl>
            <a:ln>
              <a:noFill/>
            </a:ln>
          </a:tr2bl>
        </a:tcBdr>
        <a:fill>
          <a:noFill/>
        </a:fill>
      </a:tcStyle>
    </a:lastRow>
    <a:firstRow>
      <a:tcTxStyle b="on" i="off">
        <a:fontRef idx="minor"/>
        <a:schemeClr val="accent1"/>
      </a:tcTxStyle>
      <a:tcStyle>
        <a:tcBdr/>
        <a:fill>
          <a:noFill/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761" autoAdjust="0"/>
  </p:normalViewPr>
  <p:slideViewPr>
    <p:cSldViewPr snapToGrid="0" snapToObjects="1">
      <p:cViewPr varScale="1">
        <p:scale>
          <a:sx n="115" d="100"/>
          <a:sy n="115" d="100"/>
        </p:scale>
        <p:origin x="657" y="5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-8736"/>
    </p:cViewPr>
  </p:outlineViewPr>
  <p:notesTextViewPr>
    <p:cViewPr>
      <p:scale>
        <a:sx n="400" d="100"/>
        <a:sy n="4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84" d="100"/>
          <a:sy n="84" d="100"/>
        </p:scale>
        <p:origin x="3786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Master" Target="slideMasters/slideMaster2.xml"/><Relationship Id="rId39" Type="http://schemas.openxmlformats.org/officeDocument/2006/relationships/slide" Target="slides/slide5.xml"/><Relationship Id="rId21" Type="http://schemas.openxmlformats.org/officeDocument/2006/relationships/customXml" Target="../customXml/item21.xml"/><Relationship Id="rId34" Type="http://schemas.openxmlformats.org/officeDocument/2006/relationships/slideMaster" Target="slideMasters/slideMaster10.xml"/><Relationship Id="rId42" Type="http://schemas.openxmlformats.org/officeDocument/2006/relationships/slide" Target="slides/slide8.xml"/><Relationship Id="rId47" Type="http://schemas.openxmlformats.org/officeDocument/2006/relationships/slide" Target="slides/slide13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Master" Target="slideMasters/slideMaster1.xml"/><Relationship Id="rId33" Type="http://schemas.openxmlformats.org/officeDocument/2006/relationships/slideMaster" Target="slideMasters/slideMaster9.xml"/><Relationship Id="rId38" Type="http://schemas.openxmlformats.org/officeDocument/2006/relationships/slide" Target="slides/slide4.xml"/><Relationship Id="rId46" Type="http://schemas.openxmlformats.org/officeDocument/2006/relationships/slide" Target="slides/slide12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customXml" Target="../customXml/item20.xml"/><Relationship Id="rId29" Type="http://schemas.openxmlformats.org/officeDocument/2006/relationships/slideMaster" Target="slideMasters/slideMaster5.xml"/><Relationship Id="rId41" Type="http://schemas.openxmlformats.org/officeDocument/2006/relationships/slide" Target="slides/slide7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customXml" Target="../customXml/item24.xml"/><Relationship Id="rId32" Type="http://schemas.openxmlformats.org/officeDocument/2006/relationships/slideMaster" Target="slideMasters/slideMaster8.xml"/><Relationship Id="rId37" Type="http://schemas.openxmlformats.org/officeDocument/2006/relationships/slide" Target="slides/slide3.xml"/><Relationship Id="rId40" Type="http://schemas.openxmlformats.org/officeDocument/2006/relationships/slide" Target="slides/slide6.xml"/><Relationship Id="rId45" Type="http://schemas.openxmlformats.org/officeDocument/2006/relationships/slide" Target="slides/slide11.xml"/><Relationship Id="rId53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customXml" Target="../customXml/item23.xml"/><Relationship Id="rId28" Type="http://schemas.openxmlformats.org/officeDocument/2006/relationships/slideMaster" Target="slideMasters/slideMaster4.xml"/><Relationship Id="rId36" Type="http://schemas.openxmlformats.org/officeDocument/2006/relationships/slide" Target="slides/slide2.xml"/><Relationship Id="rId49" Type="http://schemas.openxmlformats.org/officeDocument/2006/relationships/notesMaster" Target="notesMasters/notesMaster1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slideMaster" Target="slideMasters/slideMaster7.xml"/><Relationship Id="rId44" Type="http://schemas.openxmlformats.org/officeDocument/2006/relationships/slide" Target="slides/slide10.xml"/><Relationship Id="rId52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customXml" Target="../customXml/item22.xml"/><Relationship Id="rId27" Type="http://schemas.openxmlformats.org/officeDocument/2006/relationships/slideMaster" Target="slideMasters/slideMaster3.xml"/><Relationship Id="rId30" Type="http://schemas.openxmlformats.org/officeDocument/2006/relationships/slideMaster" Target="slideMasters/slideMaster6.xml"/><Relationship Id="rId35" Type="http://schemas.openxmlformats.org/officeDocument/2006/relationships/slide" Target="slides/slide1.xml"/><Relationship Id="rId43" Type="http://schemas.openxmlformats.org/officeDocument/2006/relationships/slide" Target="slides/slide9.xml"/><Relationship Id="rId48" Type="http://schemas.openxmlformats.org/officeDocument/2006/relationships/slide" Target="slides/slide14.xml"/><Relationship Id="rId8" Type="http://schemas.openxmlformats.org/officeDocument/2006/relationships/customXml" Target="../customXml/item8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323" cy="452753"/>
          </a:xfrm>
          <a:prstGeom prst="rect">
            <a:avLst/>
          </a:prstGeom>
        </p:spPr>
        <p:txBody>
          <a:bodyPr vert="horz" lIns="92126" tIns="46063" rIns="92126" bIns="46063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141" y="0"/>
            <a:ext cx="3067323" cy="452753"/>
          </a:xfrm>
          <a:prstGeom prst="rect">
            <a:avLst/>
          </a:prstGeom>
        </p:spPr>
        <p:txBody>
          <a:bodyPr vert="horz" wrap="square" lIns="92126" tIns="46063" rIns="92126" bIns="46063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2A52147A-CD42-488D-9276-5A9ED7C5857D}" type="datetimeFigureOut">
              <a:rPr lang="en-US" altLang="en-US"/>
              <a:pPr>
                <a:defRPr/>
              </a:pPr>
              <a:t>10/3/2019</a:t>
            </a:fld>
            <a:endParaRPr lang="en-US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597617"/>
            <a:ext cx="3067323" cy="452753"/>
          </a:xfrm>
          <a:prstGeom prst="rect">
            <a:avLst/>
          </a:prstGeom>
        </p:spPr>
        <p:txBody>
          <a:bodyPr vert="horz" lIns="92126" tIns="46063" rIns="92126" bIns="46063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141" y="8597617"/>
            <a:ext cx="3067323" cy="452753"/>
          </a:xfrm>
          <a:prstGeom prst="rect">
            <a:avLst/>
          </a:prstGeom>
        </p:spPr>
        <p:txBody>
          <a:bodyPr vert="horz" wrap="square" lIns="92126" tIns="46063" rIns="92126" bIns="46063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30881E5B-5E8C-42C5-A155-152F4DF9EC1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930630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323" cy="454308"/>
          </a:xfrm>
          <a:prstGeom prst="rect">
            <a:avLst/>
          </a:prstGeom>
        </p:spPr>
        <p:txBody>
          <a:bodyPr vert="horz" lIns="93315" tIns="46657" rIns="93315" bIns="46657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141" y="0"/>
            <a:ext cx="3067323" cy="454308"/>
          </a:xfrm>
          <a:prstGeom prst="rect">
            <a:avLst/>
          </a:prstGeom>
        </p:spPr>
        <p:txBody>
          <a:bodyPr vert="horz" wrap="square" lIns="93315" tIns="46657" rIns="93315" bIns="46657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AF45C94E-D0D1-4A10-8044-193E96A09458}" type="datetimeFigureOut">
              <a:rPr lang="en-US" altLang="en-US"/>
              <a:pPr>
                <a:defRPr/>
              </a:pPr>
              <a:t>10/3/2019</a:t>
            </a:fld>
            <a:endParaRPr lang="en-US" alt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823913" y="1131888"/>
            <a:ext cx="5429250" cy="3054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15" tIns="46657" rIns="93315" bIns="46657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7225" y="4356376"/>
            <a:ext cx="5662625" cy="3564449"/>
          </a:xfrm>
          <a:prstGeom prst="rect">
            <a:avLst/>
          </a:prstGeom>
        </p:spPr>
        <p:txBody>
          <a:bodyPr vert="horz" lIns="93315" tIns="46657" rIns="93315" bIns="46657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597618"/>
            <a:ext cx="3067323" cy="454308"/>
          </a:xfrm>
          <a:prstGeom prst="rect">
            <a:avLst/>
          </a:prstGeom>
        </p:spPr>
        <p:txBody>
          <a:bodyPr vert="horz" lIns="93315" tIns="46657" rIns="93315" bIns="46657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141" y="8597618"/>
            <a:ext cx="3067323" cy="454308"/>
          </a:xfrm>
          <a:prstGeom prst="rect">
            <a:avLst/>
          </a:prstGeom>
        </p:spPr>
        <p:txBody>
          <a:bodyPr vert="horz" wrap="square" lIns="93315" tIns="46657" rIns="93315" bIns="46657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FF94B2D0-6B4C-48CF-97F2-D65075F67B5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519165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83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67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50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733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4166" algn="l" defTabSz="9136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1009" algn="l" defTabSz="9136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838" algn="l" defTabSz="9136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4669" algn="l" defTabSz="91367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23913" y="1131888"/>
            <a:ext cx="5429250" cy="30543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F94B2D0-6B4C-48CF-97F2-D65075F67B53}" type="slidenum">
              <a:rPr lang="en-US" altLang="en-US" smtClean="0"/>
              <a:pPr>
                <a:defRPr/>
              </a:pPr>
              <a:t>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785884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ype of changes included:</a:t>
            </a:r>
          </a:p>
          <a:p>
            <a:pPr marL="171450" indent="-171450">
              <a:buFontTx/>
              <a:buChar char="-"/>
            </a:pPr>
            <a:r>
              <a:rPr lang="en-US"/>
              <a:t>“MACD”</a:t>
            </a:r>
          </a:p>
          <a:p>
            <a:pPr marL="628285" lvl="1" indent="-171450">
              <a:buFontTx/>
              <a:buChar char="-"/>
            </a:pPr>
            <a:r>
              <a:rPr lang="en-US" b="1"/>
              <a:t>Moved</a:t>
            </a:r>
            <a:r>
              <a:rPr lang="en-US"/>
              <a:t> some entries to different locations (such as Database &amp; Middleware</a:t>
            </a:r>
            <a:r>
              <a:rPr lang="en-US" baseline="0"/>
              <a:t> in the Towers)</a:t>
            </a:r>
          </a:p>
          <a:p>
            <a:pPr marL="628285" lvl="1" indent="-171450">
              <a:buFontTx/>
              <a:buChar char="-"/>
            </a:pPr>
            <a:r>
              <a:rPr lang="en-US" b="1" baseline="0"/>
              <a:t>Added</a:t>
            </a:r>
            <a:r>
              <a:rPr lang="en-US" baseline="0"/>
              <a:t> new categories – including Internal Services in Cost Pools, Strategy &amp; Planning along with Security &amp; Compliance in the Delivery services.</a:t>
            </a:r>
          </a:p>
          <a:p>
            <a:pPr marL="628285" lvl="1" indent="-171450">
              <a:buFontTx/>
              <a:buChar char="-"/>
            </a:pPr>
            <a:r>
              <a:rPr lang="en-US" b="1" baseline="0"/>
              <a:t>Changed</a:t>
            </a:r>
            <a:r>
              <a:rPr lang="en-US" baseline="0"/>
              <a:t> the name and meaning of several (such as Online &amp; Offline Storage in the Towers, Virtual Compute and Containers in the Infrastructure services.</a:t>
            </a:r>
          </a:p>
          <a:p>
            <a:pPr marL="628285" lvl="1" indent="-171450">
              <a:buFontTx/>
              <a:buChar char="-"/>
            </a:pPr>
            <a:r>
              <a:rPr lang="en-US" b="1" baseline="0"/>
              <a:t>Deleted</a:t>
            </a:r>
            <a:r>
              <a:rPr lang="en-US" b="0" baseline="0"/>
              <a:t> some entries to consolidate and simplify the structure (for example, in the Platform services which was collapsed to two categories – Data and Applications; in the Towers, removed Public Cloud and added as a level 3 categorization)</a:t>
            </a:r>
          </a:p>
          <a:p>
            <a:pPr marL="171450" lvl="0" indent="-171450">
              <a:buFontTx/>
              <a:buChar char="-"/>
            </a:pPr>
            <a:r>
              <a:rPr lang="en-US" b="0" baseline="0"/>
              <a:t>Additional input was provided in the overall definition of the various taxonomy entries as well as grammatical and other input to improve the overall readability of the taxonomy. 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4B2D0-6B4C-48CF-97F2-D65075F67B53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630433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Define vertical-specific business services for your work group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94B2D0-6B4C-48CF-97F2-D65075F67B53}" type="slidenum">
              <a:rPr kumimoji="0" lang="en-US" altLang="en-US" sz="11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alt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1855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3012560" y="1600201"/>
            <a:ext cx="0" cy="1956466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319206" y="1717507"/>
            <a:ext cx="5594023" cy="464646"/>
          </a:xfrm>
        </p:spPr>
        <p:txBody>
          <a:bodyPr wrap="square" anchor="b" anchorCtr="0">
            <a:spAutoFit/>
          </a:bodyPr>
          <a:lstStyle>
            <a:lvl1pPr>
              <a:defRPr sz="2775"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&lt;Presentation Title Here&gt;</a:t>
            </a:r>
          </a:p>
        </p:txBody>
      </p:sp>
      <p:sp>
        <p:nvSpPr>
          <p:cNvPr id="19" name="Text Placeholder 1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19201" y="2305052"/>
            <a:ext cx="5594024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88815" indent="0">
              <a:buNone/>
              <a:defRPr>
                <a:solidFill>
                  <a:schemeClr val="tx1"/>
                </a:solidFill>
              </a:defRPr>
            </a:lvl2pPr>
            <a:lvl3pPr marL="569693" indent="0">
              <a:buNone/>
              <a:defRPr>
                <a:solidFill>
                  <a:schemeClr val="tx1"/>
                </a:solidFill>
              </a:defRPr>
            </a:lvl3pPr>
            <a:lvl4pPr marL="855333" indent="0">
              <a:buNone/>
              <a:defRPr>
                <a:solidFill>
                  <a:schemeClr val="tx1"/>
                </a:solidFill>
              </a:defRPr>
            </a:lvl4pPr>
            <a:lvl5pPr marL="1140972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&lt;Presenter Name Here&gt;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18444" y="2711452"/>
            <a:ext cx="5595371" cy="374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50" b="0">
                <a:solidFill>
                  <a:schemeClr val="tx2"/>
                </a:solidFill>
              </a:defRPr>
            </a:lvl1pPr>
            <a:lvl2pPr marL="288815" indent="0">
              <a:buNone/>
              <a:defRPr b="0">
                <a:solidFill>
                  <a:schemeClr val="bg1"/>
                </a:solidFill>
              </a:defRPr>
            </a:lvl2pPr>
            <a:lvl3pPr marL="569693" indent="0">
              <a:buNone/>
              <a:defRPr b="0">
                <a:solidFill>
                  <a:schemeClr val="bg1"/>
                </a:solidFill>
              </a:defRPr>
            </a:lvl3pPr>
            <a:lvl4pPr marL="855333" indent="0">
              <a:buNone/>
              <a:defRPr b="0">
                <a:solidFill>
                  <a:schemeClr val="bg1"/>
                </a:solidFill>
              </a:defRPr>
            </a:lvl4pPr>
            <a:lvl5pPr marL="1140972" indent="0">
              <a:buNone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&lt;Presenter Title Here&gt;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318444" y="3190841"/>
            <a:ext cx="5595371" cy="3111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 b="0" baseline="0">
                <a:solidFill>
                  <a:schemeClr val="tx2"/>
                </a:solidFill>
              </a:defRPr>
            </a:lvl1pPr>
            <a:lvl2pPr marL="288815" indent="0">
              <a:buNone/>
              <a:defRPr sz="1425" b="0">
                <a:solidFill>
                  <a:schemeClr val="bg1"/>
                </a:solidFill>
              </a:defRPr>
            </a:lvl2pPr>
            <a:lvl3pPr marL="569693" indent="0">
              <a:buNone/>
              <a:defRPr sz="1200" b="0">
                <a:solidFill>
                  <a:schemeClr val="bg1"/>
                </a:solidFill>
              </a:defRPr>
            </a:lvl3pPr>
            <a:lvl4pPr marL="855333" indent="0">
              <a:buNone/>
              <a:defRPr sz="1125" b="0">
                <a:solidFill>
                  <a:schemeClr val="bg1"/>
                </a:solidFill>
              </a:defRPr>
            </a:lvl4pPr>
            <a:lvl5pPr marL="1140972" indent="0">
              <a:buNone/>
              <a:defRPr sz="1125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&lt;Presentation Date Here&gt;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9506"/>
            <a:ext cx="9144000" cy="103822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05275"/>
            <a:ext cx="9144000" cy="1038225"/>
          </a:xfrm>
          <a:prstGeom prst="rect">
            <a:avLst/>
          </a:prstGeom>
        </p:spPr>
      </p:pic>
      <p:grpSp>
        <p:nvGrpSpPr>
          <p:cNvPr id="13" name="Group 12"/>
          <p:cNvGrpSpPr>
            <a:grpSpLocks noChangeAspect="1"/>
          </p:cNvGrpSpPr>
          <p:nvPr userDrawn="1"/>
        </p:nvGrpSpPr>
        <p:grpSpPr>
          <a:xfrm>
            <a:off x="404645" y="2144053"/>
            <a:ext cx="2301270" cy="903174"/>
            <a:chOff x="2970213" y="1633538"/>
            <a:chExt cx="3203575" cy="1257300"/>
          </a:xfrm>
        </p:grpSpPr>
        <p:sp>
          <p:nvSpPr>
            <p:cNvPr id="14" name="Freeform 8"/>
            <p:cNvSpPr>
              <a:spLocks noChangeAspect="1" noEditPoints="1"/>
            </p:cNvSpPr>
            <p:nvPr/>
          </p:nvSpPr>
          <p:spPr bwMode="auto">
            <a:xfrm>
              <a:off x="2970213" y="2641600"/>
              <a:ext cx="3203575" cy="249238"/>
            </a:xfrm>
            <a:custGeom>
              <a:avLst/>
              <a:gdLst>
                <a:gd name="T0" fmla="*/ 1991 w 33994"/>
                <a:gd name="T1" fmla="*/ 64 h 2645"/>
                <a:gd name="T2" fmla="*/ 1272 w 33994"/>
                <a:gd name="T3" fmla="*/ 555 h 2645"/>
                <a:gd name="T4" fmla="*/ 718 w 33994"/>
                <a:gd name="T5" fmla="*/ 2581 h 2645"/>
                <a:gd name="T6" fmla="*/ 0 w 33994"/>
                <a:gd name="T7" fmla="*/ 555 h 2645"/>
                <a:gd name="T8" fmla="*/ 5171 w 33994"/>
                <a:gd name="T9" fmla="*/ 1881 h 2645"/>
                <a:gd name="T10" fmla="*/ 3194 w 33994"/>
                <a:gd name="T11" fmla="*/ 2581 h 2645"/>
                <a:gd name="T12" fmla="*/ 4133 w 33994"/>
                <a:gd name="T13" fmla="*/ 64 h 2645"/>
                <a:gd name="T14" fmla="*/ 4620 w 33994"/>
                <a:gd name="T15" fmla="*/ 1258 h 2645"/>
                <a:gd name="T16" fmla="*/ 5171 w 33994"/>
                <a:gd name="T17" fmla="*/ 1881 h 2645"/>
                <a:gd name="T18" fmla="*/ 4150 w 33994"/>
                <a:gd name="T19" fmla="*/ 1070 h 2645"/>
                <a:gd name="T20" fmla="*/ 4125 w 33994"/>
                <a:gd name="T21" fmla="*/ 533 h 2645"/>
                <a:gd name="T22" fmla="*/ 3749 w 33994"/>
                <a:gd name="T23" fmla="*/ 1070 h 2645"/>
                <a:gd name="T24" fmla="*/ 4168 w 33994"/>
                <a:gd name="T25" fmla="*/ 1539 h 2645"/>
                <a:gd name="T26" fmla="*/ 3749 w 33994"/>
                <a:gd name="T27" fmla="*/ 2112 h 2645"/>
                <a:gd name="T28" fmla="*/ 4616 w 33994"/>
                <a:gd name="T29" fmla="*/ 1816 h 2645"/>
                <a:gd name="T30" fmla="*/ 7697 w 33994"/>
                <a:gd name="T31" fmla="*/ 1706 h 2645"/>
                <a:gd name="T32" fmla="*/ 6278 w 33994"/>
                <a:gd name="T33" fmla="*/ 64 h 2645"/>
                <a:gd name="T34" fmla="*/ 6833 w 33994"/>
                <a:gd name="T35" fmla="*/ 2581 h 2645"/>
                <a:gd name="T36" fmla="*/ 6840 w 33994"/>
                <a:gd name="T37" fmla="*/ 651 h 2645"/>
                <a:gd name="T38" fmla="*/ 7899 w 33994"/>
                <a:gd name="T39" fmla="*/ 2581 h 2645"/>
                <a:gd name="T40" fmla="*/ 8568 w 33994"/>
                <a:gd name="T41" fmla="*/ 651 h 2645"/>
                <a:gd name="T42" fmla="*/ 9122 w 33994"/>
                <a:gd name="T43" fmla="*/ 2581 h 2645"/>
                <a:gd name="T44" fmla="*/ 8287 w 33994"/>
                <a:gd name="T45" fmla="*/ 64 h 2645"/>
                <a:gd name="T46" fmla="*/ 13062 w 33994"/>
                <a:gd name="T47" fmla="*/ 2410 h 2645"/>
                <a:gd name="T48" fmla="*/ 13062 w 33994"/>
                <a:gd name="T49" fmla="*/ 235 h 2645"/>
                <a:gd name="T50" fmla="*/ 13933 w 33994"/>
                <a:gd name="T51" fmla="*/ 398 h 2645"/>
                <a:gd name="T52" fmla="*/ 11750 w 33994"/>
                <a:gd name="T53" fmla="*/ 1322 h 2645"/>
                <a:gd name="T54" fmla="*/ 13993 w 33994"/>
                <a:gd name="T55" fmla="*/ 2183 h 2645"/>
                <a:gd name="T56" fmla="*/ 13062 w 33994"/>
                <a:gd name="T57" fmla="*/ 2410 h 2645"/>
                <a:gd name="T58" fmla="*/ 16558 w 33994"/>
                <a:gd name="T59" fmla="*/ 2645 h 2645"/>
                <a:gd name="T60" fmla="*/ 16558 w 33994"/>
                <a:gd name="T61" fmla="*/ 0 h 2645"/>
                <a:gd name="T62" fmla="*/ 17593 w 33994"/>
                <a:gd name="T63" fmla="*/ 1322 h 2645"/>
                <a:gd name="T64" fmla="*/ 15524 w 33994"/>
                <a:gd name="T65" fmla="*/ 1322 h 2645"/>
                <a:gd name="T66" fmla="*/ 17593 w 33994"/>
                <a:gd name="T67" fmla="*/ 1322 h 2645"/>
                <a:gd name="T68" fmla="*/ 20253 w 33994"/>
                <a:gd name="T69" fmla="*/ 2410 h 2645"/>
                <a:gd name="T70" fmla="*/ 19589 w 33994"/>
                <a:gd name="T71" fmla="*/ 64 h 2645"/>
                <a:gd name="T72" fmla="*/ 19333 w 33994"/>
                <a:gd name="T73" fmla="*/ 1642 h 2645"/>
                <a:gd name="T74" fmla="*/ 21174 w 33994"/>
                <a:gd name="T75" fmla="*/ 1642 h 2645"/>
                <a:gd name="T76" fmla="*/ 20918 w 33994"/>
                <a:gd name="T77" fmla="*/ 64 h 2645"/>
                <a:gd name="T78" fmla="*/ 24777 w 33994"/>
                <a:gd name="T79" fmla="*/ 2197 h 2645"/>
                <a:gd name="T80" fmla="*/ 23270 w 33994"/>
                <a:gd name="T81" fmla="*/ 64 h 2645"/>
                <a:gd name="T82" fmla="*/ 22950 w 33994"/>
                <a:gd name="T83" fmla="*/ 2581 h 2645"/>
                <a:gd name="T84" fmla="*/ 23206 w 33994"/>
                <a:gd name="T85" fmla="*/ 427 h 2645"/>
                <a:gd name="T86" fmla="*/ 24713 w 33994"/>
                <a:gd name="T87" fmla="*/ 2581 h 2645"/>
                <a:gd name="T88" fmla="*/ 25033 w 33994"/>
                <a:gd name="T89" fmla="*/ 64 h 2645"/>
                <a:gd name="T90" fmla="*/ 24777 w 33994"/>
                <a:gd name="T91" fmla="*/ 2197 h 2645"/>
                <a:gd name="T92" fmla="*/ 26958 w 33994"/>
                <a:gd name="T93" fmla="*/ 1322 h 2645"/>
                <a:gd name="T94" fmla="*/ 28639 w 33994"/>
                <a:gd name="T95" fmla="*/ 565 h 2645"/>
                <a:gd name="T96" fmla="*/ 27992 w 33994"/>
                <a:gd name="T97" fmla="*/ 0 h 2645"/>
                <a:gd name="T98" fmla="*/ 27992 w 33994"/>
                <a:gd name="T99" fmla="*/ 2645 h 2645"/>
                <a:gd name="T100" fmla="*/ 28714 w 33994"/>
                <a:gd name="T101" fmla="*/ 2033 h 2645"/>
                <a:gd name="T102" fmla="*/ 30490 w 33994"/>
                <a:gd name="T103" fmla="*/ 2581 h 2645"/>
                <a:gd name="T104" fmla="*/ 30746 w 33994"/>
                <a:gd name="T105" fmla="*/ 64 h 2645"/>
                <a:gd name="T106" fmla="*/ 30490 w 33994"/>
                <a:gd name="T107" fmla="*/ 2581 h 2645"/>
                <a:gd name="T108" fmla="*/ 32820 w 33994"/>
                <a:gd name="T109" fmla="*/ 64 h 2645"/>
                <a:gd name="T110" fmla="*/ 32565 w 33994"/>
                <a:gd name="T111" fmla="*/ 2581 h 2645"/>
                <a:gd name="T112" fmla="*/ 33994 w 33994"/>
                <a:gd name="T113" fmla="*/ 2346 h 2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994" h="2645">
                  <a:moveTo>
                    <a:pt x="0" y="64"/>
                  </a:moveTo>
                  <a:cubicBezTo>
                    <a:pt x="1991" y="64"/>
                    <a:pt x="1991" y="64"/>
                    <a:pt x="1991" y="64"/>
                  </a:cubicBezTo>
                  <a:cubicBezTo>
                    <a:pt x="1991" y="555"/>
                    <a:pt x="1991" y="555"/>
                    <a:pt x="1991" y="555"/>
                  </a:cubicBezTo>
                  <a:cubicBezTo>
                    <a:pt x="1272" y="555"/>
                    <a:pt x="1272" y="555"/>
                    <a:pt x="1272" y="555"/>
                  </a:cubicBezTo>
                  <a:cubicBezTo>
                    <a:pt x="1272" y="2581"/>
                    <a:pt x="1272" y="2581"/>
                    <a:pt x="1272" y="2581"/>
                  </a:cubicBezTo>
                  <a:cubicBezTo>
                    <a:pt x="718" y="2581"/>
                    <a:pt x="718" y="2581"/>
                    <a:pt x="718" y="2581"/>
                  </a:cubicBezTo>
                  <a:cubicBezTo>
                    <a:pt x="718" y="555"/>
                    <a:pt x="718" y="555"/>
                    <a:pt x="718" y="555"/>
                  </a:cubicBezTo>
                  <a:cubicBezTo>
                    <a:pt x="0" y="555"/>
                    <a:pt x="0" y="555"/>
                    <a:pt x="0" y="555"/>
                  </a:cubicBezTo>
                  <a:lnTo>
                    <a:pt x="0" y="64"/>
                  </a:lnTo>
                  <a:close/>
                  <a:moveTo>
                    <a:pt x="5171" y="1881"/>
                  </a:moveTo>
                  <a:cubicBezTo>
                    <a:pt x="5171" y="2407"/>
                    <a:pt x="4673" y="2581"/>
                    <a:pt x="4225" y="2581"/>
                  </a:cubicBezTo>
                  <a:cubicBezTo>
                    <a:pt x="3194" y="2581"/>
                    <a:pt x="3194" y="2581"/>
                    <a:pt x="3194" y="2581"/>
                  </a:cubicBezTo>
                  <a:cubicBezTo>
                    <a:pt x="3194" y="64"/>
                    <a:pt x="3194" y="64"/>
                    <a:pt x="3194" y="64"/>
                  </a:cubicBezTo>
                  <a:cubicBezTo>
                    <a:pt x="4133" y="64"/>
                    <a:pt x="4133" y="64"/>
                    <a:pt x="4133" y="64"/>
                  </a:cubicBezTo>
                  <a:cubicBezTo>
                    <a:pt x="4573" y="64"/>
                    <a:pt x="5053" y="156"/>
                    <a:pt x="5053" y="704"/>
                  </a:cubicBezTo>
                  <a:cubicBezTo>
                    <a:pt x="5053" y="985"/>
                    <a:pt x="4879" y="1177"/>
                    <a:pt x="4620" y="1258"/>
                  </a:cubicBezTo>
                  <a:cubicBezTo>
                    <a:pt x="4620" y="1265"/>
                    <a:pt x="4620" y="1265"/>
                    <a:pt x="4620" y="1265"/>
                  </a:cubicBezTo>
                  <a:cubicBezTo>
                    <a:pt x="4950" y="1308"/>
                    <a:pt x="5171" y="1553"/>
                    <a:pt x="5171" y="1881"/>
                  </a:cubicBezTo>
                  <a:close/>
                  <a:moveTo>
                    <a:pt x="3749" y="1070"/>
                  </a:moveTo>
                  <a:cubicBezTo>
                    <a:pt x="4150" y="1070"/>
                    <a:pt x="4150" y="1070"/>
                    <a:pt x="4150" y="1070"/>
                  </a:cubicBezTo>
                  <a:cubicBezTo>
                    <a:pt x="4321" y="1070"/>
                    <a:pt x="4499" y="999"/>
                    <a:pt x="4499" y="796"/>
                  </a:cubicBezTo>
                  <a:cubicBezTo>
                    <a:pt x="4499" y="586"/>
                    <a:pt x="4300" y="533"/>
                    <a:pt x="4125" y="533"/>
                  </a:cubicBezTo>
                  <a:cubicBezTo>
                    <a:pt x="3749" y="533"/>
                    <a:pt x="3749" y="533"/>
                    <a:pt x="3749" y="533"/>
                  </a:cubicBezTo>
                  <a:lnTo>
                    <a:pt x="3749" y="1070"/>
                  </a:lnTo>
                  <a:close/>
                  <a:moveTo>
                    <a:pt x="4616" y="1816"/>
                  </a:moveTo>
                  <a:cubicBezTo>
                    <a:pt x="4616" y="1578"/>
                    <a:pt x="4349" y="1539"/>
                    <a:pt x="4168" y="1539"/>
                  </a:cubicBezTo>
                  <a:cubicBezTo>
                    <a:pt x="3749" y="1539"/>
                    <a:pt x="3749" y="1539"/>
                    <a:pt x="3749" y="1539"/>
                  </a:cubicBezTo>
                  <a:cubicBezTo>
                    <a:pt x="3749" y="2112"/>
                    <a:pt x="3749" y="2112"/>
                    <a:pt x="3749" y="2112"/>
                  </a:cubicBezTo>
                  <a:cubicBezTo>
                    <a:pt x="4246" y="2112"/>
                    <a:pt x="4246" y="2112"/>
                    <a:pt x="4246" y="2112"/>
                  </a:cubicBezTo>
                  <a:cubicBezTo>
                    <a:pt x="4421" y="2112"/>
                    <a:pt x="4616" y="2037"/>
                    <a:pt x="4616" y="1816"/>
                  </a:cubicBezTo>
                  <a:close/>
                  <a:moveTo>
                    <a:pt x="7704" y="1706"/>
                  </a:moveTo>
                  <a:cubicBezTo>
                    <a:pt x="7697" y="1706"/>
                    <a:pt x="7697" y="1706"/>
                    <a:pt x="7697" y="1706"/>
                  </a:cubicBezTo>
                  <a:cubicBezTo>
                    <a:pt x="7117" y="64"/>
                    <a:pt x="7117" y="64"/>
                    <a:pt x="7117" y="64"/>
                  </a:cubicBezTo>
                  <a:cubicBezTo>
                    <a:pt x="6278" y="64"/>
                    <a:pt x="6278" y="64"/>
                    <a:pt x="6278" y="64"/>
                  </a:cubicBezTo>
                  <a:cubicBezTo>
                    <a:pt x="6278" y="2581"/>
                    <a:pt x="6278" y="2581"/>
                    <a:pt x="6278" y="2581"/>
                  </a:cubicBezTo>
                  <a:cubicBezTo>
                    <a:pt x="6833" y="2581"/>
                    <a:pt x="6833" y="2581"/>
                    <a:pt x="6833" y="2581"/>
                  </a:cubicBezTo>
                  <a:cubicBezTo>
                    <a:pt x="6833" y="651"/>
                    <a:pt x="6833" y="651"/>
                    <a:pt x="6833" y="651"/>
                  </a:cubicBezTo>
                  <a:cubicBezTo>
                    <a:pt x="6840" y="651"/>
                    <a:pt x="6840" y="651"/>
                    <a:pt x="6840" y="651"/>
                  </a:cubicBezTo>
                  <a:cubicBezTo>
                    <a:pt x="7476" y="2581"/>
                    <a:pt x="7476" y="2581"/>
                    <a:pt x="7476" y="2581"/>
                  </a:cubicBezTo>
                  <a:cubicBezTo>
                    <a:pt x="7899" y="2581"/>
                    <a:pt x="7899" y="2581"/>
                    <a:pt x="7899" y="2581"/>
                  </a:cubicBezTo>
                  <a:cubicBezTo>
                    <a:pt x="8560" y="651"/>
                    <a:pt x="8560" y="651"/>
                    <a:pt x="8560" y="651"/>
                  </a:cubicBezTo>
                  <a:cubicBezTo>
                    <a:pt x="8568" y="651"/>
                    <a:pt x="8568" y="651"/>
                    <a:pt x="8568" y="651"/>
                  </a:cubicBezTo>
                  <a:cubicBezTo>
                    <a:pt x="8568" y="2581"/>
                    <a:pt x="8568" y="2581"/>
                    <a:pt x="8568" y="2581"/>
                  </a:cubicBezTo>
                  <a:cubicBezTo>
                    <a:pt x="9122" y="2581"/>
                    <a:pt x="9122" y="2581"/>
                    <a:pt x="9122" y="2581"/>
                  </a:cubicBezTo>
                  <a:cubicBezTo>
                    <a:pt x="9122" y="64"/>
                    <a:pt x="9122" y="64"/>
                    <a:pt x="9122" y="64"/>
                  </a:cubicBezTo>
                  <a:cubicBezTo>
                    <a:pt x="8287" y="64"/>
                    <a:pt x="8287" y="64"/>
                    <a:pt x="8287" y="64"/>
                  </a:cubicBezTo>
                  <a:lnTo>
                    <a:pt x="7704" y="1706"/>
                  </a:lnTo>
                  <a:close/>
                  <a:moveTo>
                    <a:pt x="13062" y="2410"/>
                  </a:moveTo>
                  <a:cubicBezTo>
                    <a:pt x="12415" y="2410"/>
                    <a:pt x="12027" y="1902"/>
                    <a:pt x="12027" y="1322"/>
                  </a:cubicBezTo>
                  <a:cubicBezTo>
                    <a:pt x="12027" y="743"/>
                    <a:pt x="12415" y="235"/>
                    <a:pt x="13062" y="235"/>
                  </a:cubicBezTo>
                  <a:cubicBezTo>
                    <a:pt x="13328" y="235"/>
                    <a:pt x="13609" y="402"/>
                    <a:pt x="13709" y="565"/>
                  </a:cubicBezTo>
                  <a:cubicBezTo>
                    <a:pt x="13933" y="398"/>
                    <a:pt x="13933" y="398"/>
                    <a:pt x="13933" y="398"/>
                  </a:cubicBezTo>
                  <a:cubicBezTo>
                    <a:pt x="13712" y="117"/>
                    <a:pt x="13375" y="0"/>
                    <a:pt x="13062" y="0"/>
                  </a:cubicBezTo>
                  <a:cubicBezTo>
                    <a:pt x="12312" y="0"/>
                    <a:pt x="11750" y="558"/>
                    <a:pt x="11750" y="1322"/>
                  </a:cubicBezTo>
                  <a:cubicBezTo>
                    <a:pt x="11750" y="2087"/>
                    <a:pt x="12312" y="2645"/>
                    <a:pt x="13062" y="2645"/>
                  </a:cubicBezTo>
                  <a:cubicBezTo>
                    <a:pt x="13478" y="2645"/>
                    <a:pt x="13826" y="2442"/>
                    <a:pt x="13993" y="2183"/>
                  </a:cubicBezTo>
                  <a:cubicBezTo>
                    <a:pt x="13783" y="2033"/>
                    <a:pt x="13783" y="2033"/>
                    <a:pt x="13783" y="2033"/>
                  </a:cubicBezTo>
                  <a:cubicBezTo>
                    <a:pt x="13595" y="2325"/>
                    <a:pt x="13325" y="2410"/>
                    <a:pt x="13062" y="2410"/>
                  </a:cubicBezTo>
                  <a:close/>
                  <a:moveTo>
                    <a:pt x="17870" y="1322"/>
                  </a:moveTo>
                  <a:cubicBezTo>
                    <a:pt x="17870" y="2087"/>
                    <a:pt x="17308" y="2645"/>
                    <a:pt x="16558" y="2645"/>
                  </a:cubicBezTo>
                  <a:cubicBezTo>
                    <a:pt x="15808" y="2645"/>
                    <a:pt x="15247" y="2087"/>
                    <a:pt x="15247" y="1322"/>
                  </a:cubicBezTo>
                  <a:cubicBezTo>
                    <a:pt x="15247" y="558"/>
                    <a:pt x="15808" y="0"/>
                    <a:pt x="16558" y="0"/>
                  </a:cubicBezTo>
                  <a:cubicBezTo>
                    <a:pt x="17308" y="0"/>
                    <a:pt x="17870" y="558"/>
                    <a:pt x="17870" y="1322"/>
                  </a:cubicBezTo>
                  <a:close/>
                  <a:moveTo>
                    <a:pt x="17593" y="1322"/>
                  </a:moveTo>
                  <a:cubicBezTo>
                    <a:pt x="17593" y="743"/>
                    <a:pt x="17205" y="235"/>
                    <a:pt x="16558" y="235"/>
                  </a:cubicBezTo>
                  <a:cubicBezTo>
                    <a:pt x="15911" y="235"/>
                    <a:pt x="15524" y="743"/>
                    <a:pt x="15524" y="1322"/>
                  </a:cubicBezTo>
                  <a:cubicBezTo>
                    <a:pt x="15524" y="1902"/>
                    <a:pt x="15911" y="2410"/>
                    <a:pt x="16558" y="2410"/>
                  </a:cubicBezTo>
                  <a:cubicBezTo>
                    <a:pt x="17205" y="2410"/>
                    <a:pt x="17593" y="1902"/>
                    <a:pt x="17593" y="1322"/>
                  </a:cubicBezTo>
                  <a:close/>
                  <a:moveTo>
                    <a:pt x="20918" y="1614"/>
                  </a:moveTo>
                  <a:cubicBezTo>
                    <a:pt x="20918" y="2339"/>
                    <a:pt x="20445" y="2410"/>
                    <a:pt x="20253" y="2410"/>
                  </a:cubicBezTo>
                  <a:cubicBezTo>
                    <a:pt x="20061" y="2410"/>
                    <a:pt x="19589" y="2339"/>
                    <a:pt x="19589" y="1614"/>
                  </a:cubicBezTo>
                  <a:cubicBezTo>
                    <a:pt x="19589" y="64"/>
                    <a:pt x="19589" y="64"/>
                    <a:pt x="19589" y="64"/>
                  </a:cubicBezTo>
                  <a:cubicBezTo>
                    <a:pt x="19333" y="64"/>
                    <a:pt x="19333" y="64"/>
                    <a:pt x="19333" y="64"/>
                  </a:cubicBezTo>
                  <a:cubicBezTo>
                    <a:pt x="19333" y="1642"/>
                    <a:pt x="19333" y="1642"/>
                    <a:pt x="19333" y="1642"/>
                  </a:cubicBezTo>
                  <a:cubicBezTo>
                    <a:pt x="19333" y="2062"/>
                    <a:pt x="19500" y="2645"/>
                    <a:pt x="20253" y="2645"/>
                  </a:cubicBezTo>
                  <a:cubicBezTo>
                    <a:pt x="21007" y="2645"/>
                    <a:pt x="21174" y="2062"/>
                    <a:pt x="21174" y="1642"/>
                  </a:cubicBezTo>
                  <a:cubicBezTo>
                    <a:pt x="21174" y="64"/>
                    <a:pt x="21174" y="64"/>
                    <a:pt x="21174" y="64"/>
                  </a:cubicBezTo>
                  <a:cubicBezTo>
                    <a:pt x="20918" y="64"/>
                    <a:pt x="20918" y="64"/>
                    <a:pt x="20918" y="64"/>
                  </a:cubicBezTo>
                  <a:lnTo>
                    <a:pt x="20918" y="1614"/>
                  </a:lnTo>
                  <a:close/>
                  <a:moveTo>
                    <a:pt x="24777" y="2197"/>
                  </a:moveTo>
                  <a:cubicBezTo>
                    <a:pt x="24770" y="2197"/>
                    <a:pt x="24770" y="2197"/>
                    <a:pt x="24770" y="2197"/>
                  </a:cubicBezTo>
                  <a:cubicBezTo>
                    <a:pt x="23270" y="64"/>
                    <a:pt x="23270" y="64"/>
                    <a:pt x="23270" y="64"/>
                  </a:cubicBezTo>
                  <a:cubicBezTo>
                    <a:pt x="22950" y="64"/>
                    <a:pt x="22950" y="64"/>
                    <a:pt x="22950" y="64"/>
                  </a:cubicBezTo>
                  <a:cubicBezTo>
                    <a:pt x="22950" y="2581"/>
                    <a:pt x="22950" y="2581"/>
                    <a:pt x="22950" y="2581"/>
                  </a:cubicBezTo>
                  <a:cubicBezTo>
                    <a:pt x="23206" y="2581"/>
                    <a:pt x="23206" y="2581"/>
                    <a:pt x="23206" y="2581"/>
                  </a:cubicBezTo>
                  <a:cubicBezTo>
                    <a:pt x="23206" y="427"/>
                    <a:pt x="23206" y="427"/>
                    <a:pt x="23206" y="427"/>
                  </a:cubicBezTo>
                  <a:cubicBezTo>
                    <a:pt x="23213" y="427"/>
                    <a:pt x="23213" y="427"/>
                    <a:pt x="23213" y="427"/>
                  </a:cubicBezTo>
                  <a:cubicBezTo>
                    <a:pt x="24713" y="2581"/>
                    <a:pt x="24713" y="2581"/>
                    <a:pt x="24713" y="2581"/>
                  </a:cubicBezTo>
                  <a:cubicBezTo>
                    <a:pt x="25033" y="2581"/>
                    <a:pt x="25033" y="2581"/>
                    <a:pt x="25033" y="2581"/>
                  </a:cubicBezTo>
                  <a:cubicBezTo>
                    <a:pt x="25033" y="64"/>
                    <a:pt x="25033" y="64"/>
                    <a:pt x="25033" y="64"/>
                  </a:cubicBezTo>
                  <a:cubicBezTo>
                    <a:pt x="24777" y="64"/>
                    <a:pt x="24777" y="64"/>
                    <a:pt x="24777" y="64"/>
                  </a:cubicBezTo>
                  <a:lnTo>
                    <a:pt x="24777" y="2197"/>
                  </a:lnTo>
                  <a:close/>
                  <a:moveTo>
                    <a:pt x="27992" y="2410"/>
                  </a:moveTo>
                  <a:cubicBezTo>
                    <a:pt x="27345" y="2410"/>
                    <a:pt x="26958" y="1902"/>
                    <a:pt x="26958" y="1322"/>
                  </a:cubicBezTo>
                  <a:cubicBezTo>
                    <a:pt x="26958" y="743"/>
                    <a:pt x="27345" y="235"/>
                    <a:pt x="27992" y="235"/>
                  </a:cubicBezTo>
                  <a:cubicBezTo>
                    <a:pt x="28259" y="235"/>
                    <a:pt x="28540" y="402"/>
                    <a:pt x="28639" y="565"/>
                  </a:cubicBezTo>
                  <a:cubicBezTo>
                    <a:pt x="28863" y="398"/>
                    <a:pt x="28863" y="398"/>
                    <a:pt x="28863" y="398"/>
                  </a:cubicBezTo>
                  <a:cubicBezTo>
                    <a:pt x="28643" y="117"/>
                    <a:pt x="28305" y="0"/>
                    <a:pt x="27992" y="0"/>
                  </a:cubicBezTo>
                  <a:cubicBezTo>
                    <a:pt x="27242" y="0"/>
                    <a:pt x="26680" y="558"/>
                    <a:pt x="26680" y="1322"/>
                  </a:cubicBezTo>
                  <a:cubicBezTo>
                    <a:pt x="26680" y="2087"/>
                    <a:pt x="27242" y="2645"/>
                    <a:pt x="27992" y="2645"/>
                  </a:cubicBezTo>
                  <a:cubicBezTo>
                    <a:pt x="28408" y="2645"/>
                    <a:pt x="28757" y="2442"/>
                    <a:pt x="28924" y="2183"/>
                  </a:cubicBezTo>
                  <a:cubicBezTo>
                    <a:pt x="28714" y="2033"/>
                    <a:pt x="28714" y="2033"/>
                    <a:pt x="28714" y="2033"/>
                  </a:cubicBezTo>
                  <a:cubicBezTo>
                    <a:pt x="28526" y="2325"/>
                    <a:pt x="28255" y="2410"/>
                    <a:pt x="27992" y="2410"/>
                  </a:cubicBezTo>
                  <a:close/>
                  <a:moveTo>
                    <a:pt x="30490" y="2581"/>
                  </a:moveTo>
                  <a:cubicBezTo>
                    <a:pt x="30746" y="2581"/>
                    <a:pt x="30746" y="2581"/>
                    <a:pt x="30746" y="2581"/>
                  </a:cubicBezTo>
                  <a:cubicBezTo>
                    <a:pt x="30746" y="64"/>
                    <a:pt x="30746" y="64"/>
                    <a:pt x="30746" y="64"/>
                  </a:cubicBezTo>
                  <a:cubicBezTo>
                    <a:pt x="30490" y="64"/>
                    <a:pt x="30490" y="64"/>
                    <a:pt x="30490" y="64"/>
                  </a:cubicBezTo>
                  <a:lnTo>
                    <a:pt x="30490" y="2581"/>
                  </a:lnTo>
                  <a:close/>
                  <a:moveTo>
                    <a:pt x="32820" y="2346"/>
                  </a:moveTo>
                  <a:cubicBezTo>
                    <a:pt x="32820" y="64"/>
                    <a:pt x="32820" y="64"/>
                    <a:pt x="32820" y="64"/>
                  </a:cubicBezTo>
                  <a:cubicBezTo>
                    <a:pt x="32565" y="64"/>
                    <a:pt x="32565" y="64"/>
                    <a:pt x="32565" y="64"/>
                  </a:cubicBezTo>
                  <a:cubicBezTo>
                    <a:pt x="32565" y="2581"/>
                    <a:pt x="32565" y="2581"/>
                    <a:pt x="32565" y="2581"/>
                  </a:cubicBezTo>
                  <a:cubicBezTo>
                    <a:pt x="33994" y="2581"/>
                    <a:pt x="33994" y="2581"/>
                    <a:pt x="33994" y="2581"/>
                  </a:cubicBezTo>
                  <a:cubicBezTo>
                    <a:pt x="33994" y="2346"/>
                    <a:pt x="33994" y="2346"/>
                    <a:pt x="33994" y="2346"/>
                  </a:cubicBezTo>
                  <a:lnTo>
                    <a:pt x="32820" y="234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 noChangeAspect="1"/>
            </p:cNvSpPr>
            <p:nvPr/>
          </p:nvSpPr>
          <p:spPr bwMode="auto">
            <a:xfrm>
              <a:off x="4230688" y="1774825"/>
              <a:ext cx="546100" cy="533400"/>
            </a:xfrm>
            <a:custGeom>
              <a:avLst/>
              <a:gdLst>
                <a:gd name="T0" fmla="*/ 209 w 344"/>
                <a:gd name="T1" fmla="*/ 0 h 336"/>
                <a:gd name="T2" fmla="*/ 0 w 344"/>
                <a:gd name="T3" fmla="*/ 0 h 336"/>
                <a:gd name="T4" fmla="*/ 0 w 344"/>
                <a:gd name="T5" fmla="*/ 336 h 336"/>
                <a:gd name="T6" fmla="*/ 344 w 344"/>
                <a:gd name="T7" fmla="*/ 336 h 336"/>
                <a:gd name="T8" fmla="*/ 344 w 344"/>
                <a:gd name="T9" fmla="*/ 132 h 336"/>
                <a:gd name="T10" fmla="*/ 209 w 344"/>
                <a:gd name="T11" fmla="*/ 132 h 336"/>
                <a:gd name="T12" fmla="*/ 209 w 344"/>
                <a:gd name="T13" fmla="*/ 0 h 336"/>
                <a:gd name="T14" fmla="*/ 209 w 344"/>
                <a:gd name="T15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36">
                  <a:moveTo>
                    <a:pt x="209" y="0"/>
                  </a:moveTo>
                  <a:lnTo>
                    <a:pt x="0" y="0"/>
                  </a:lnTo>
                  <a:lnTo>
                    <a:pt x="0" y="336"/>
                  </a:lnTo>
                  <a:lnTo>
                    <a:pt x="344" y="336"/>
                  </a:lnTo>
                  <a:lnTo>
                    <a:pt x="344" y="132"/>
                  </a:lnTo>
                  <a:lnTo>
                    <a:pt x="209" y="132"/>
                  </a:lnTo>
                  <a:lnTo>
                    <a:pt x="209" y="0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F89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 noChangeAspect="1"/>
            </p:cNvSpPr>
            <p:nvPr/>
          </p:nvSpPr>
          <p:spPr bwMode="auto">
            <a:xfrm>
              <a:off x="4562475" y="1633538"/>
              <a:ext cx="350838" cy="350838"/>
            </a:xfrm>
            <a:custGeom>
              <a:avLst/>
              <a:gdLst>
                <a:gd name="T0" fmla="*/ 221 w 221"/>
                <a:gd name="T1" fmla="*/ 0 h 221"/>
                <a:gd name="T2" fmla="*/ 0 w 221"/>
                <a:gd name="T3" fmla="*/ 0 h 221"/>
                <a:gd name="T4" fmla="*/ 0 w 221"/>
                <a:gd name="T5" fmla="*/ 89 h 221"/>
                <a:gd name="T6" fmla="*/ 135 w 221"/>
                <a:gd name="T7" fmla="*/ 89 h 221"/>
                <a:gd name="T8" fmla="*/ 135 w 221"/>
                <a:gd name="T9" fmla="*/ 221 h 221"/>
                <a:gd name="T10" fmla="*/ 221 w 221"/>
                <a:gd name="T11" fmla="*/ 221 h 221"/>
                <a:gd name="T12" fmla="*/ 221 w 221"/>
                <a:gd name="T13" fmla="*/ 0 h 221"/>
                <a:gd name="T14" fmla="*/ 221 w 221"/>
                <a:gd name="T1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21">
                  <a:moveTo>
                    <a:pt x="221" y="0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89"/>
                  </a:lnTo>
                  <a:lnTo>
                    <a:pt x="135" y="221"/>
                  </a:lnTo>
                  <a:lnTo>
                    <a:pt x="221" y="221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16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7210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819150"/>
            <a:ext cx="8229601" cy="36576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6854" indent="0">
              <a:buNone/>
              <a:defRPr sz="2025" b="1"/>
            </a:lvl2pPr>
            <a:lvl3pPr marL="913708" indent="0">
              <a:buNone/>
              <a:defRPr sz="1800" b="1"/>
            </a:lvl3pPr>
            <a:lvl4pPr marL="1370562" indent="0">
              <a:buNone/>
              <a:defRPr sz="1575" b="1"/>
            </a:lvl4pPr>
            <a:lvl5pPr marL="1827413" indent="0">
              <a:buNone/>
              <a:defRPr sz="1575" b="1"/>
            </a:lvl5pPr>
            <a:lvl6pPr marL="2284262" indent="0">
              <a:buNone/>
              <a:defRPr sz="1575" b="1"/>
            </a:lvl6pPr>
            <a:lvl7pPr marL="2741123" indent="0">
              <a:buNone/>
              <a:defRPr sz="1575" b="1"/>
            </a:lvl7pPr>
            <a:lvl8pPr marL="3197972" indent="0">
              <a:buNone/>
              <a:defRPr sz="1575" b="1"/>
            </a:lvl8pPr>
            <a:lvl9pPr marL="3654822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7201" y="1292241"/>
            <a:ext cx="8229601" cy="33369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/>
            </a:lvl1pPr>
          </a:lstStyle>
          <a:p>
            <a:pPr lvl="0"/>
            <a:r>
              <a:rPr lang="en-US"/>
              <a:t>Click icon to add chart</a:t>
            </a:r>
          </a:p>
        </p:txBody>
      </p:sp>
    </p:spTree>
    <p:extLst>
      <p:ext uri="{BB962C8B-B14F-4D97-AF65-F5344CB8AC3E}">
        <p14:creationId xmlns:p14="http://schemas.microsoft.com/office/powerpoint/2010/main" val="3313999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2601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021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a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6357" y="2266950"/>
            <a:ext cx="4850446" cy="520045"/>
          </a:xfrm>
        </p:spPr>
        <p:txBody>
          <a:bodyPr anchor="ctr" anchorCtr="0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-1143000" y="509553"/>
            <a:ext cx="4172909" cy="4124394"/>
            <a:chOff x="1694491" y="3522260"/>
            <a:chExt cx="490359" cy="484658"/>
          </a:xfrm>
        </p:grpSpPr>
        <p:sp>
          <p:nvSpPr>
            <p:cNvPr id="10" name="Freeform 9"/>
            <p:cNvSpPr>
              <a:spLocks noChangeAspect="1"/>
            </p:cNvSpPr>
            <p:nvPr/>
          </p:nvSpPr>
          <p:spPr bwMode="auto">
            <a:xfrm>
              <a:off x="1694491" y="3623753"/>
              <a:ext cx="392288" cy="383165"/>
            </a:xfrm>
            <a:custGeom>
              <a:avLst/>
              <a:gdLst>
                <a:gd name="T0" fmla="*/ 209 w 344"/>
                <a:gd name="T1" fmla="*/ 0 h 336"/>
                <a:gd name="T2" fmla="*/ 0 w 344"/>
                <a:gd name="T3" fmla="*/ 0 h 336"/>
                <a:gd name="T4" fmla="*/ 0 w 344"/>
                <a:gd name="T5" fmla="*/ 336 h 336"/>
                <a:gd name="T6" fmla="*/ 344 w 344"/>
                <a:gd name="T7" fmla="*/ 336 h 336"/>
                <a:gd name="T8" fmla="*/ 344 w 344"/>
                <a:gd name="T9" fmla="*/ 132 h 336"/>
                <a:gd name="T10" fmla="*/ 209 w 344"/>
                <a:gd name="T11" fmla="*/ 132 h 336"/>
                <a:gd name="T12" fmla="*/ 209 w 344"/>
                <a:gd name="T13" fmla="*/ 0 h 336"/>
                <a:gd name="T14" fmla="*/ 209 w 344"/>
                <a:gd name="T15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36">
                  <a:moveTo>
                    <a:pt x="209" y="0"/>
                  </a:moveTo>
                  <a:lnTo>
                    <a:pt x="0" y="0"/>
                  </a:lnTo>
                  <a:lnTo>
                    <a:pt x="0" y="336"/>
                  </a:lnTo>
                  <a:lnTo>
                    <a:pt x="344" y="336"/>
                  </a:lnTo>
                  <a:lnTo>
                    <a:pt x="344" y="132"/>
                  </a:lnTo>
                  <a:lnTo>
                    <a:pt x="209" y="132"/>
                  </a:lnTo>
                  <a:lnTo>
                    <a:pt x="209" y="0"/>
                  </a:lnTo>
                  <a:lnTo>
                    <a:pt x="209" y="0"/>
                  </a:lnTo>
                  <a:close/>
                </a:path>
              </a:pathLst>
            </a:custGeom>
            <a:noFill/>
            <a:ln w="31750">
              <a:solidFill>
                <a:srgbClr val="FFCC66">
                  <a:alpha val="55686"/>
                </a:srgb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10"/>
            <p:cNvSpPr>
              <a:spLocks noChangeAspect="1"/>
            </p:cNvSpPr>
            <p:nvPr/>
          </p:nvSpPr>
          <p:spPr bwMode="auto">
            <a:xfrm>
              <a:off x="1932828" y="3522260"/>
              <a:ext cx="252022" cy="252022"/>
            </a:xfrm>
            <a:custGeom>
              <a:avLst/>
              <a:gdLst>
                <a:gd name="T0" fmla="*/ 221 w 221"/>
                <a:gd name="T1" fmla="*/ 0 h 221"/>
                <a:gd name="T2" fmla="*/ 0 w 221"/>
                <a:gd name="T3" fmla="*/ 0 h 221"/>
                <a:gd name="T4" fmla="*/ 0 w 221"/>
                <a:gd name="T5" fmla="*/ 89 h 221"/>
                <a:gd name="T6" fmla="*/ 135 w 221"/>
                <a:gd name="T7" fmla="*/ 89 h 221"/>
                <a:gd name="T8" fmla="*/ 135 w 221"/>
                <a:gd name="T9" fmla="*/ 221 h 221"/>
                <a:gd name="T10" fmla="*/ 221 w 221"/>
                <a:gd name="T11" fmla="*/ 221 h 221"/>
                <a:gd name="T12" fmla="*/ 221 w 221"/>
                <a:gd name="T13" fmla="*/ 0 h 221"/>
                <a:gd name="T14" fmla="*/ 221 w 221"/>
                <a:gd name="T1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21">
                  <a:moveTo>
                    <a:pt x="221" y="0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89"/>
                  </a:lnTo>
                  <a:lnTo>
                    <a:pt x="135" y="221"/>
                  </a:lnTo>
                  <a:lnTo>
                    <a:pt x="221" y="221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noFill/>
            <a:ln w="31750">
              <a:solidFill>
                <a:srgbClr val="FFCC66">
                  <a:alpha val="55686"/>
                </a:srgbClr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53389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28405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/>
          <p:cNvCxnSpPr/>
          <p:nvPr userDrawn="1"/>
        </p:nvCxnSpPr>
        <p:spPr>
          <a:xfrm>
            <a:off x="3012560" y="1600202"/>
            <a:ext cx="0" cy="1956466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3319207" y="1717507"/>
            <a:ext cx="5594023" cy="464646"/>
          </a:xfrm>
        </p:spPr>
        <p:txBody>
          <a:bodyPr wrap="square" anchor="b" anchorCtr="0">
            <a:spAutoFit/>
          </a:bodyPr>
          <a:lstStyle>
            <a:lvl1pPr>
              <a:defRPr sz="2775" b="1" baseline="0"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&lt;Presentation Title Here&gt;</a:t>
            </a:r>
          </a:p>
        </p:txBody>
      </p:sp>
      <p:sp>
        <p:nvSpPr>
          <p:cNvPr id="19" name="Text Placeholder 18"/>
          <p:cNvSpPr>
            <a:spLocks noGrp="1"/>
          </p:cNvSpPr>
          <p:nvPr userDrawn="1">
            <p:ph type="body" sz="quarter" idx="13" hasCustomPrompt="1"/>
          </p:nvPr>
        </p:nvSpPr>
        <p:spPr>
          <a:xfrm>
            <a:off x="3319201" y="2305053"/>
            <a:ext cx="5594024" cy="406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1">
                <a:solidFill>
                  <a:schemeClr val="tx2"/>
                </a:solidFill>
              </a:defRPr>
            </a:lvl1pPr>
            <a:lvl2pPr marL="288808" indent="0">
              <a:buNone/>
              <a:defRPr>
                <a:solidFill>
                  <a:schemeClr val="tx1"/>
                </a:solidFill>
              </a:defRPr>
            </a:lvl2pPr>
            <a:lvl3pPr marL="569679" indent="0">
              <a:buNone/>
              <a:defRPr>
                <a:solidFill>
                  <a:schemeClr val="tx1"/>
                </a:solidFill>
              </a:defRPr>
            </a:lvl3pPr>
            <a:lvl4pPr marL="855311" indent="0">
              <a:buNone/>
              <a:defRPr>
                <a:solidFill>
                  <a:schemeClr val="tx1"/>
                </a:solidFill>
              </a:defRPr>
            </a:lvl4pPr>
            <a:lvl5pPr marL="1140944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&lt;Presenter Name Here&gt;</a:t>
            </a:r>
          </a:p>
        </p:txBody>
      </p:sp>
      <p:sp>
        <p:nvSpPr>
          <p:cNvPr id="21" name="Text Placeholder 20"/>
          <p:cNvSpPr>
            <a:spLocks noGrp="1"/>
          </p:cNvSpPr>
          <p:nvPr userDrawn="1">
            <p:ph type="body" sz="quarter" idx="14" hasCustomPrompt="1"/>
          </p:nvPr>
        </p:nvSpPr>
        <p:spPr>
          <a:xfrm>
            <a:off x="3318445" y="2711453"/>
            <a:ext cx="5595371" cy="37465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50" b="0">
                <a:solidFill>
                  <a:schemeClr val="tx2"/>
                </a:solidFill>
              </a:defRPr>
            </a:lvl1pPr>
            <a:lvl2pPr marL="288808" indent="0">
              <a:buNone/>
              <a:defRPr b="0">
                <a:solidFill>
                  <a:schemeClr val="bg1"/>
                </a:solidFill>
              </a:defRPr>
            </a:lvl2pPr>
            <a:lvl3pPr marL="569679" indent="0">
              <a:buNone/>
              <a:defRPr b="0">
                <a:solidFill>
                  <a:schemeClr val="bg1"/>
                </a:solidFill>
              </a:defRPr>
            </a:lvl3pPr>
            <a:lvl4pPr marL="855311" indent="0">
              <a:buNone/>
              <a:defRPr b="0">
                <a:solidFill>
                  <a:schemeClr val="bg1"/>
                </a:solidFill>
              </a:defRPr>
            </a:lvl4pPr>
            <a:lvl5pPr marL="1140944" indent="0">
              <a:buNone/>
              <a:defRPr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&lt;Presenter Title Here&gt;</a:t>
            </a:r>
          </a:p>
        </p:txBody>
      </p:sp>
      <p:sp>
        <p:nvSpPr>
          <p:cNvPr id="23" name="Text Placeholder 22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318445" y="3190842"/>
            <a:ext cx="5595371" cy="31119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050" b="0" baseline="0">
                <a:solidFill>
                  <a:schemeClr val="tx2"/>
                </a:solidFill>
              </a:defRPr>
            </a:lvl1pPr>
            <a:lvl2pPr marL="288808" indent="0">
              <a:buNone/>
              <a:defRPr sz="1425" b="0">
                <a:solidFill>
                  <a:schemeClr val="bg1"/>
                </a:solidFill>
              </a:defRPr>
            </a:lvl2pPr>
            <a:lvl3pPr marL="569679" indent="0">
              <a:buNone/>
              <a:defRPr sz="1200" b="0">
                <a:solidFill>
                  <a:schemeClr val="bg1"/>
                </a:solidFill>
              </a:defRPr>
            </a:lvl3pPr>
            <a:lvl4pPr marL="855311" indent="0">
              <a:buNone/>
              <a:defRPr sz="1125" b="0">
                <a:solidFill>
                  <a:schemeClr val="bg1"/>
                </a:solidFill>
              </a:defRPr>
            </a:lvl4pPr>
            <a:lvl5pPr marL="1140944" indent="0">
              <a:buNone/>
              <a:defRPr sz="1125" b="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&lt;Presentation Date Here&gt;</a:t>
            </a:r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9506"/>
            <a:ext cx="9144000" cy="103822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05276"/>
            <a:ext cx="9144000" cy="1038225"/>
          </a:xfrm>
          <a:prstGeom prst="rect">
            <a:avLst/>
          </a:prstGeom>
        </p:spPr>
      </p:pic>
      <p:grpSp>
        <p:nvGrpSpPr>
          <p:cNvPr id="13" name="Group 12"/>
          <p:cNvGrpSpPr>
            <a:grpSpLocks noChangeAspect="1"/>
          </p:cNvGrpSpPr>
          <p:nvPr userDrawn="1"/>
        </p:nvGrpSpPr>
        <p:grpSpPr>
          <a:xfrm>
            <a:off x="404645" y="2144053"/>
            <a:ext cx="2301270" cy="903174"/>
            <a:chOff x="2970213" y="1633538"/>
            <a:chExt cx="3203575" cy="1257300"/>
          </a:xfrm>
        </p:grpSpPr>
        <p:sp>
          <p:nvSpPr>
            <p:cNvPr id="14" name="Freeform 8"/>
            <p:cNvSpPr>
              <a:spLocks noChangeAspect="1" noEditPoints="1"/>
            </p:cNvSpPr>
            <p:nvPr/>
          </p:nvSpPr>
          <p:spPr bwMode="auto">
            <a:xfrm>
              <a:off x="2970213" y="2641600"/>
              <a:ext cx="3203575" cy="249238"/>
            </a:xfrm>
            <a:custGeom>
              <a:avLst/>
              <a:gdLst>
                <a:gd name="T0" fmla="*/ 1991 w 33994"/>
                <a:gd name="T1" fmla="*/ 64 h 2645"/>
                <a:gd name="T2" fmla="*/ 1272 w 33994"/>
                <a:gd name="T3" fmla="*/ 555 h 2645"/>
                <a:gd name="T4" fmla="*/ 718 w 33994"/>
                <a:gd name="T5" fmla="*/ 2581 h 2645"/>
                <a:gd name="T6" fmla="*/ 0 w 33994"/>
                <a:gd name="T7" fmla="*/ 555 h 2645"/>
                <a:gd name="T8" fmla="*/ 5171 w 33994"/>
                <a:gd name="T9" fmla="*/ 1881 h 2645"/>
                <a:gd name="T10" fmla="*/ 3194 w 33994"/>
                <a:gd name="T11" fmla="*/ 2581 h 2645"/>
                <a:gd name="T12" fmla="*/ 4133 w 33994"/>
                <a:gd name="T13" fmla="*/ 64 h 2645"/>
                <a:gd name="T14" fmla="*/ 4620 w 33994"/>
                <a:gd name="T15" fmla="*/ 1258 h 2645"/>
                <a:gd name="T16" fmla="*/ 5171 w 33994"/>
                <a:gd name="T17" fmla="*/ 1881 h 2645"/>
                <a:gd name="T18" fmla="*/ 4150 w 33994"/>
                <a:gd name="T19" fmla="*/ 1070 h 2645"/>
                <a:gd name="T20" fmla="*/ 4125 w 33994"/>
                <a:gd name="T21" fmla="*/ 533 h 2645"/>
                <a:gd name="T22" fmla="*/ 3749 w 33994"/>
                <a:gd name="T23" fmla="*/ 1070 h 2645"/>
                <a:gd name="T24" fmla="*/ 4168 w 33994"/>
                <a:gd name="T25" fmla="*/ 1539 h 2645"/>
                <a:gd name="T26" fmla="*/ 3749 w 33994"/>
                <a:gd name="T27" fmla="*/ 2112 h 2645"/>
                <a:gd name="T28" fmla="*/ 4616 w 33994"/>
                <a:gd name="T29" fmla="*/ 1816 h 2645"/>
                <a:gd name="T30" fmla="*/ 7697 w 33994"/>
                <a:gd name="T31" fmla="*/ 1706 h 2645"/>
                <a:gd name="T32" fmla="*/ 6278 w 33994"/>
                <a:gd name="T33" fmla="*/ 64 h 2645"/>
                <a:gd name="T34" fmla="*/ 6833 w 33994"/>
                <a:gd name="T35" fmla="*/ 2581 h 2645"/>
                <a:gd name="T36" fmla="*/ 6840 w 33994"/>
                <a:gd name="T37" fmla="*/ 651 h 2645"/>
                <a:gd name="T38" fmla="*/ 7899 w 33994"/>
                <a:gd name="T39" fmla="*/ 2581 h 2645"/>
                <a:gd name="T40" fmla="*/ 8568 w 33994"/>
                <a:gd name="T41" fmla="*/ 651 h 2645"/>
                <a:gd name="T42" fmla="*/ 9122 w 33994"/>
                <a:gd name="T43" fmla="*/ 2581 h 2645"/>
                <a:gd name="T44" fmla="*/ 8287 w 33994"/>
                <a:gd name="T45" fmla="*/ 64 h 2645"/>
                <a:gd name="T46" fmla="*/ 13062 w 33994"/>
                <a:gd name="T47" fmla="*/ 2410 h 2645"/>
                <a:gd name="T48" fmla="*/ 13062 w 33994"/>
                <a:gd name="T49" fmla="*/ 235 h 2645"/>
                <a:gd name="T50" fmla="*/ 13933 w 33994"/>
                <a:gd name="T51" fmla="*/ 398 h 2645"/>
                <a:gd name="T52" fmla="*/ 11750 w 33994"/>
                <a:gd name="T53" fmla="*/ 1322 h 2645"/>
                <a:gd name="T54" fmla="*/ 13993 w 33994"/>
                <a:gd name="T55" fmla="*/ 2183 h 2645"/>
                <a:gd name="T56" fmla="*/ 13062 w 33994"/>
                <a:gd name="T57" fmla="*/ 2410 h 2645"/>
                <a:gd name="T58" fmla="*/ 16558 w 33994"/>
                <a:gd name="T59" fmla="*/ 2645 h 2645"/>
                <a:gd name="T60" fmla="*/ 16558 w 33994"/>
                <a:gd name="T61" fmla="*/ 0 h 2645"/>
                <a:gd name="T62" fmla="*/ 17593 w 33994"/>
                <a:gd name="T63" fmla="*/ 1322 h 2645"/>
                <a:gd name="T64" fmla="*/ 15524 w 33994"/>
                <a:gd name="T65" fmla="*/ 1322 h 2645"/>
                <a:gd name="T66" fmla="*/ 17593 w 33994"/>
                <a:gd name="T67" fmla="*/ 1322 h 2645"/>
                <a:gd name="T68" fmla="*/ 20253 w 33994"/>
                <a:gd name="T69" fmla="*/ 2410 h 2645"/>
                <a:gd name="T70" fmla="*/ 19589 w 33994"/>
                <a:gd name="T71" fmla="*/ 64 h 2645"/>
                <a:gd name="T72" fmla="*/ 19333 w 33994"/>
                <a:gd name="T73" fmla="*/ 1642 h 2645"/>
                <a:gd name="T74" fmla="*/ 21174 w 33994"/>
                <a:gd name="T75" fmla="*/ 1642 h 2645"/>
                <a:gd name="T76" fmla="*/ 20918 w 33994"/>
                <a:gd name="T77" fmla="*/ 64 h 2645"/>
                <a:gd name="T78" fmla="*/ 24777 w 33994"/>
                <a:gd name="T79" fmla="*/ 2197 h 2645"/>
                <a:gd name="T80" fmla="*/ 23270 w 33994"/>
                <a:gd name="T81" fmla="*/ 64 h 2645"/>
                <a:gd name="T82" fmla="*/ 22950 w 33994"/>
                <a:gd name="T83" fmla="*/ 2581 h 2645"/>
                <a:gd name="T84" fmla="*/ 23206 w 33994"/>
                <a:gd name="T85" fmla="*/ 427 h 2645"/>
                <a:gd name="T86" fmla="*/ 24713 w 33994"/>
                <a:gd name="T87" fmla="*/ 2581 h 2645"/>
                <a:gd name="T88" fmla="*/ 25033 w 33994"/>
                <a:gd name="T89" fmla="*/ 64 h 2645"/>
                <a:gd name="T90" fmla="*/ 24777 w 33994"/>
                <a:gd name="T91" fmla="*/ 2197 h 2645"/>
                <a:gd name="T92" fmla="*/ 26958 w 33994"/>
                <a:gd name="T93" fmla="*/ 1322 h 2645"/>
                <a:gd name="T94" fmla="*/ 28639 w 33994"/>
                <a:gd name="T95" fmla="*/ 565 h 2645"/>
                <a:gd name="T96" fmla="*/ 27992 w 33994"/>
                <a:gd name="T97" fmla="*/ 0 h 2645"/>
                <a:gd name="T98" fmla="*/ 27992 w 33994"/>
                <a:gd name="T99" fmla="*/ 2645 h 2645"/>
                <a:gd name="T100" fmla="*/ 28714 w 33994"/>
                <a:gd name="T101" fmla="*/ 2033 h 2645"/>
                <a:gd name="T102" fmla="*/ 30490 w 33994"/>
                <a:gd name="T103" fmla="*/ 2581 h 2645"/>
                <a:gd name="T104" fmla="*/ 30746 w 33994"/>
                <a:gd name="T105" fmla="*/ 64 h 2645"/>
                <a:gd name="T106" fmla="*/ 30490 w 33994"/>
                <a:gd name="T107" fmla="*/ 2581 h 2645"/>
                <a:gd name="T108" fmla="*/ 32820 w 33994"/>
                <a:gd name="T109" fmla="*/ 64 h 2645"/>
                <a:gd name="T110" fmla="*/ 32565 w 33994"/>
                <a:gd name="T111" fmla="*/ 2581 h 2645"/>
                <a:gd name="T112" fmla="*/ 33994 w 33994"/>
                <a:gd name="T113" fmla="*/ 2346 h 2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994" h="2645">
                  <a:moveTo>
                    <a:pt x="0" y="64"/>
                  </a:moveTo>
                  <a:cubicBezTo>
                    <a:pt x="1991" y="64"/>
                    <a:pt x="1991" y="64"/>
                    <a:pt x="1991" y="64"/>
                  </a:cubicBezTo>
                  <a:cubicBezTo>
                    <a:pt x="1991" y="555"/>
                    <a:pt x="1991" y="555"/>
                    <a:pt x="1991" y="555"/>
                  </a:cubicBezTo>
                  <a:cubicBezTo>
                    <a:pt x="1272" y="555"/>
                    <a:pt x="1272" y="555"/>
                    <a:pt x="1272" y="555"/>
                  </a:cubicBezTo>
                  <a:cubicBezTo>
                    <a:pt x="1272" y="2581"/>
                    <a:pt x="1272" y="2581"/>
                    <a:pt x="1272" y="2581"/>
                  </a:cubicBezTo>
                  <a:cubicBezTo>
                    <a:pt x="718" y="2581"/>
                    <a:pt x="718" y="2581"/>
                    <a:pt x="718" y="2581"/>
                  </a:cubicBezTo>
                  <a:cubicBezTo>
                    <a:pt x="718" y="555"/>
                    <a:pt x="718" y="555"/>
                    <a:pt x="718" y="555"/>
                  </a:cubicBezTo>
                  <a:cubicBezTo>
                    <a:pt x="0" y="555"/>
                    <a:pt x="0" y="555"/>
                    <a:pt x="0" y="555"/>
                  </a:cubicBezTo>
                  <a:lnTo>
                    <a:pt x="0" y="64"/>
                  </a:lnTo>
                  <a:close/>
                  <a:moveTo>
                    <a:pt x="5171" y="1881"/>
                  </a:moveTo>
                  <a:cubicBezTo>
                    <a:pt x="5171" y="2407"/>
                    <a:pt x="4673" y="2581"/>
                    <a:pt x="4225" y="2581"/>
                  </a:cubicBezTo>
                  <a:cubicBezTo>
                    <a:pt x="3194" y="2581"/>
                    <a:pt x="3194" y="2581"/>
                    <a:pt x="3194" y="2581"/>
                  </a:cubicBezTo>
                  <a:cubicBezTo>
                    <a:pt x="3194" y="64"/>
                    <a:pt x="3194" y="64"/>
                    <a:pt x="3194" y="64"/>
                  </a:cubicBezTo>
                  <a:cubicBezTo>
                    <a:pt x="4133" y="64"/>
                    <a:pt x="4133" y="64"/>
                    <a:pt x="4133" y="64"/>
                  </a:cubicBezTo>
                  <a:cubicBezTo>
                    <a:pt x="4573" y="64"/>
                    <a:pt x="5053" y="156"/>
                    <a:pt x="5053" y="704"/>
                  </a:cubicBezTo>
                  <a:cubicBezTo>
                    <a:pt x="5053" y="985"/>
                    <a:pt x="4879" y="1177"/>
                    <a:pt x="4620" y="1258"/>
                  </a:cubicBezTo>
                  <a:cubicBezTo>
                    <a:pt x="4620" y="1265"/>
                    <a:pt x="4620" y="1265"/>
                    <a:pt x="4620" y="1265"/>
                  </a:cubicBezTo>
                  <a:cubicBezTo>
                    <a:pt x="4950" y="1308"/>
                    <a:pt x="5171" y="1553"/>
                    <a:pt x="5171" y="1881"/>
                  </a:cubicBezTo>
                  <a:close/>
                  <a:moveTo>
                    <a:pt x="3749" y="1070"/>
                  </a:moveTo>
                  <a:cubicBezTo>
                    <a:pt x="4150" y="1070"/>
                    <a:pt x="4150" y="1070"/>
                    <a:pt x="4150" y="1070"/>
                  </a:cubicBezTo>
                  <a:cubicBezTo>
                    <a:pt x="4321" y="1070"/>
                    <a:pt x="4499" y="999"/>
                    <a:pt x="4499" y="796"/>
                  </a:cubicBezTo>
                  <a:cubicBezTo>
                    <a:pt x="4499" y="586"/>
                    <a:pt x="4300" y="533"/>
                    <a:pt x="4125" y="533"/>
                  </a:cubicBezTo>
                  <a:cubicBezTo>
                    <a:pt x="3749" y="533"/>
                    <a:pt x="3749" y="533"/>
                    <a:pt x="3749" y="533"/>
                  </a:cubicBezTo>
                  <a:lnTo>
                    <a:pt x="3749" y="1070"/>
                  </a:lnTo>
                  <a:close/>
                  <a:moveTo>
                    <a:pt x="4616" y="1816"/>
                  </a:moveTo>
                  <a:cubicBezTo>
                    <a:pt x="4616" y="1578"/>
                    <a:pt x="4349" y="1539"/>
                    <a:pt x="4168" y="1539"/>
                  </a:cubicBezTo>
                  <a:cubicBezTo>
                    <a:pt x="3749" y="1539"/>
                    <a:pt x="3749" y="1539"/>
                    <a:pt x="3749" y="1539"/>
                  </a:cubicBezTo>
                  <a:cubicBezTo>
                    <a:pt x="3749" y="2112"/>
                    <a:pt x="3749" y="2112"/>
                    <a:pt x="3749" y="2112"/>
                  </a:cubicBezTo>
                  <a:cubicBezTo>
                    <a:pt x="4246" y="2112"/>
                    <a:pt x="4246" y="2112"/>
                    <a:pt x="4246" y="2112"/>
                  </a:cubicBezTo>
                  <a:cubicBezTo>
                    <a:pt x="4421" y="2112"/>
                    <a:pt x="4616" y="2037"/>
                    <a:pt x="4616" y="1816"/>
                  </a:cubicBezTo>
                  <a:close/>
                  <a:moveTo>
                    <a:pt x="7704" y="1706"/>
                  </a:moveTo>
                  <a:cubicBezTo>
                    <a:pt x="7697" y="1706"/>
                    <a:pt x="7697" y="1706"/>
                    <a:pt x="7697" y="1706"/>
                  </a:cubicBezTo>
                  <a:cubicBezTo>
                    <a:pt x="7117" y="64"/>
                    <a:pt x="7117" y="64"/>
                    <a:pt x="7117" y="64"/>
                  </a:cubicBezTo>
                  <a:cubicBezTo>
                    <a:pt x="6278" y="64"/>
                    <a:pt x="6278" y="64"/>
                    <a:pt x="6278" y="64"/>
                  </a:cubicBezTo>
                  <a:cubicBezTo>
                    <a:pt x="6278" y="2581"/>
                    <a:pt x="6278" y="2581"/>
                    <a:pt x="6278" y="2581"/>
                  </a:cubicBezTo>
                  <a:cubicBezTo>
                    <a:pt x="6833" y="2581"/>
                    <a:pt x="6833" y="2581"/>
                    <a:pt x="6833" y="2581"/>
                  </a:cubicBezTo>
                  <a:cubicBezTo>
                    <a:pt x="6833" y="651"/>
                    <a:pt x="6833" y="651"/>
                    <a:pt x="6833" y="651"/>
                  </a:cubicBezTo>
                  <a:cubicBezTo>
                    <a:pt x="6840" y="651"/>
                    <a:pt x="6840" y="651"/>
                    <a:pt x="6840" y="651"/>
                  </a:cubicBezTo>
                  <a:cubicBezTo>
                    <a:pt x="7476" y="2581"/>
                    <a:pt x="7476" y="2581"/>
                    <a:pt x="7476" y="2581"/>
                  </a:cubicBezTo>
                  <a:cubicBezTo>
                    <a:pt x="7899" y="2581"/>
                    <a:pt x="7899" y="2581"/>
                    <a:pt x="7899" y="2581"/>
                  </a:cubicBezTo>
                  <a:cubicBezTo>
                    <a:pt x="8560" y="651"/>
                    <a:pt x="8560" y="651"/>
                    <a:pt x="8560" y="651"/>
                  </a:cubicBezTo>
                  <a:cubicBezTo>
                    <a:pt x="8568" y="651"/>
                    <a:pt x="8568" y="651"/>
                    <a:pt x="8568" y="651"/>
                  </a:cubicBezTo>
                  <a:cubicBezTo>
                    <a:pt x="8568" y="2581"/>
                    <a:pt x="8568" y="2581"/>
                    <a:pt x="8568" y="2581"/>
                  </a:cubicBezTo>
                  <a:cubicBezTo>
                    <a:pt x="9122" y="2581"/>
                    <a:pt x="9122" y="2581"/>
                    <a:pt x="9122" y="2581"/>
                  </a:cubicBezTo>
                  <a:cubicBezTo>
                    <a:pt x="9122" y="64"/>
                    <a:pt x="9122" y="64"/>
                    <a:pt x="9122" y="64"/>
                  </a:cubicBezTo>
                  <a:cubicBezTo>
                    <a:pt x="8287" y="64"/>
                    <a:pt x="8287" y="64"/>
                    <a:pt x="8287" y="64"/>
                  </a:cubicBezTo>
                  <a:lnTo>
                    <a:pt x="7704" y="1706"/>
                  </a:lnTo>
                  <a:close/>
                  <a:moveTo>
                    <a:pt x="13062" y="2410"/>
                  </a:moveTo>
                  <a:cubicBezTo>
                    <a:pt x="12415" y="2410"/>
                    <a:pt x="12027" y="1902"/>
                    <a:pt x="12027" y="1322"/>
                  </a:cubicBezTo>
                  <a:cubicBezTo>
                    <a:pt x="12027" y="743"/>
                    <a:pt x="12415" y="235"/>
                    <a:pt x="13062" y="235"/>
                  </a:cubicBezTo>
                  <a:cubicBezTo>
                    <a:pt x="13328" y="235"/>
                    <a:pt x="13609" y="402"/>
                    <a:pt x="13709" y="565"/>
                  </a:cubicBezTo>
                  <a:cubicBezTo>
                    <a:pt x="13933" y="398"/>
                    <a:pt x="13933" y="398"/>
                    <a:pt x="13933" y="398"/>
                  </a:cubicBezTo>
                  <a:cubicBezTo>
                    <a:pt x="13712" y="117"/>
                    <a:pt x="13375" y="0"/>
                    <a:pt x="13062" y="0"/>
                  </a:cubicBezTo>
                  <a:cubicBezTo>
                    <a:pt x="12312" y="0"/>
                    <a:pt x="11750" y="558"/>
                    <a:pt x="11750" y="1322"/>
                  </a:cubicBezTo>
                  <a:cubicBezTo>
                    <a:pt x="11750" y="2087"/>
                    <a:pt x="12312" y="2645"/>
                    <a:pt x="13062" y="2645"/>
                  </a:cubicBezTo>
                  <a:cubicBezTo>
                    <a:pt x="13478" y="2645"/>
                    <a:pt x="13826" y="2442"/>
                    <a:pt x="13993" y="2183"/>
                  </a:cubicBezTo>
                  <a:cubicBezTo>
                    <a:pt x="13783" y="2033"/>
                    <a:pt x="13783" y="2033"/>
                    <a:pt x="13783" y="2033"/>
                  </a:cubicBezTo>
                  <a:cubicBezTo>
                    <a:pt x="13595" y="2325"/>
                    <a:pt x="13325" y="2410"/>
                    <a:pt x="13062" y="2410"/>
                  </a:cubicBezTo>
                  <a:close/>
                  <a:moveTo>
                    <a:pt x="17870" y="1322"/>
                  </a:moveTo>
                  <a:cubicBezTo>
                    <a:pt x="17870" y="2087"/>
                    <a:pt x="17308" y="2645"/>
                    <a:pt x="16558" y="2645"/>
                  </a:cubicBezTo>
                  <a:cubicBezTo>
                    <a:pt x="15808" y="2645"/>
                    <a:pt x="15247" y="2087"/>
                    <a:pt x="15247" y="1322"/>
                  </a:cubicBezTo>
                  <a:cubicBezTo>
                    <a:pt x="15247" y="558"/>
                    <a:pt x="15808" y="0"/>
                    <a:pt x="16558" y="0"/>
                  </a:cubicBezTo>
                  <a:cubicBezTo>
                    <a:pt x="17308" y="0"/>
                    <a:pt x="17870" y="558"/>
                    <a:pt x="17870" y="1322"/>
                  </a:cubicBezTo>
                  <a:close/>
                  <a:moveTo>
                    <a:pt x="17593" y="1322"/>
                  </a:moveTo>
                  <a:cubicBezTo>
                    <a:pt x="17593" y="743"/>
                    <a:pt x="17205" y="235"/>
                    <a:pt x="16558" y="235"/>
                  </a:cubicBezTo>
                  <a:cubicBezTo>
                    <a:pt x="15911" y="235"/>
                    <a:pt x="15524" y="743"/>
                    <a:pt x="15524" y="1322"/>
                  </a:cubicBezTo>
                  <a:cubicBezTo>
                    <a:pt x="15524" y="1902"/>
                    <a:pt x="15911" y="2410"/>
                    <a:pt x="16558" y="2410"/>
                  </a:cubicBezTo>
                  <a:cubicBezTo>
                    <a:pt x="17205" y="2410"/>
                    <a:pt x="17593" y="1902"/>
                    <a:pt x="17593" y="1322"/>
                  </a:cubicBezTo>
                  <a:close/>
                  <a:moveTo>
                    <a:pt x="20918" y="1614"/>
                  </a:moveTo>
                  <a:cubicBezTo>
                    <a:pt x="20918" y="2339"/>
                    <a:pt x="20445" y="2410"/>
                    <a:pt x="20253" y="2410"/>
                  </a:cubicBezTo>
                  <a:cubicBezTo>
                    <a:pt x="20061" y="2410"/>
                    <a:pt x="19589" y="2339"/>
                    <a:pt x="19589" y="1614"/>
                  </a:cubicBezTo>
                  <a:cubicBezTo>
                    <a:pt x="19589" y="64"/>
                    <a:pt x="19589" y="64"/>
                    <a:pt x="19589" y="64"/>
                  </a:cubicBezTo>
                  <a:cubicBezTo>
                    <a:pt x="19333" y="64"/>
                    <a:pt x="19333" y="64"/>
                    <a:pt x="19333" y="64"/>
                  </a:cubicBezTo>
                  <a:cubicBezTo>
                    <a:pt x="19333" y="1642"/>
                    <a:pt x="19333" y="1642"/>
                    <a:pt x="19333" y="1642"/>
                  </a:cubicBezTo>
                  <a:cubicBezTo>
                    <a:pt x="19333" y="2062"/>
                    <a:pt x="19500" y="2645"/>
                    <a:pt x="20253" y="2645"/>
                  </a:cubicBezTo>
                  <a:cubicBezTo>
                    <a:pt x="21007" y="2645"/>
                    <a:pt x="21174" y="2062"/>
                    <a:pt x="21174" y="1642"/>
                  </a:cubicBezTo>
                  <a:cubicBezTo>
                    <a:pt x="21174" y="64"/>
                    <a:pt x="21174" y="64"/>
                    <a:pt x="21174" y="64"/>
                  </a:cubicBezTo>
                  <a:cubicBezTo>
                    <a:pt x="20918" y="64"/>
                    <a:pt x="20918" y="64"/>
                    <a:pt x="20918" y="64"/>
                  </a:cubicBezTo>
                  <a:lnTo>
                    <a:pt x="20918" y="1614"/>
                  </a:lnTo>
                  <a:close/>
                  <a:moveTo>
                    <a:pt x="24777" y="2197"/>
                  </a:moveTo>
                  <a:cubicBezTo>
                    <a:pt x="24770" y="2197"/>
                    <a:pt x="24770" y="2197"/>
                    <a:pt x="24770" y="2197"/>
                  </a:cubicBezTo>
                  <a:cubicBezTo>
                    <a:pt x="23270" y="64"/>
                    <a:pt x="23270" y="64"/>
                    <a:pt x="23270" y="64"/>
                  </a:cubicBezTo>
                  <a:cubicBezTo>
                    <a:pt x="22950" y="64"/>
                    <a:pt x="22950" y="64"/>
                    <a:pt x="22950" y="64"/>
                  </a:cubicBezTo>
                  <a:cubicBezTo>
                    <a:pt x="22950" y="2581"/>
                    <a:pt x="22950" y="2581"/>
                    <a:pt x="22950" y="2581"/>
                  </a:cubicBezTo>
                  <a:cubicBezTo>
                    <a:pt x="23206" y="2581"/>
                    <a:pt x="23206" y="2581"/>
                    <a:pt x="23206" y="2581"/>
                  </a:cubicBezTo>
                  <a:cubicBezTo>
                    <a:pt x="23206" y="427"/>
                    <a:pt x="23206" y="427"/>
                    <a:pt x="23206" y="427"/>
                  </a:cubicBezTo>
                  <a:cubicBezTo>
                    <a:pt x="23213" y="427"/>
                    <a:pt x="23213" y="427"/>
                    <a:pt x="23213" y="427"/>
                  </a:cubicBezTo>
                  <a:cubicBezTo>
                    <a:pt x="24713" y="2581"/>
                    <a:pt x="24713" y="2581"/>
                    <a:pt x="24713" y="2581"/>
                  </a:cubicBezTo>
                  <a:cubicBezTo>
                    <a:pt x="25033" y="2581"/>
                    <a:pt x="25033" y="2581"/>
                    <a:pt x="25033" y="2581"/>
                  </a:cubicBezTo>
                  <a:cubicBezTo>
                    <a:pt x="25033" y="64"/>
                    <a:pt x="25033" y="64"/>
                    <a:pt x="25033" y="64"/>
                  </a:cubicBezTo>
                  <a:cubicBezTo>
                    <a:pt x="24777" y="64"/>
                    <a:pt x="24777" y="64"/>
                    <a:pt x="24777" y="64"/>
                  </a:cubicBezTo>
                  <a:lnTo>
                    <a:pt x="24777" y="2197"/>
                  </a:lnTo>
                  <a:close/>
                  <a:moveTo>
                    <a:pt x="27992" y="2410"/>
                  </a:moveTo>
                  <a:cubicBezTo>
                    <a:pt x="27345" y="2410"/>
                    <a:pt x="26958" y="1902"/>
                    <a:pt x="26958" y="1322"/>
                  </a:cubicBezTo>
                  <a:cubicBezTo>
                    <a:pt x="26958" y="743"/>
                    <a:pt x="27345" y="235"/>
                    <a:pt x="27992" y="235"/>
                  </a:cubicBezTo>
                  <a:cubicBezTo>
                    <a:pt x="28259" y="235"/>
                    <a:pt x="28540" y="402"/>
                    <a:pt x="28639" y="565"/>
                  </a:cubicBezTo>
                  <a:cubicBezTo>
                    <a:pt x="28863" y="398"/>
                    <a:pt x="28863" y="398"/>
                    <a:pt x="28863" y="398"/>
                  </a:cubicBezTo>
                  <a:cubicBezTo>
                    <a:pt x="28643" y="117"/>
                    <a:pt x="28305" y="0"/>
                    <a:pt x="27992" y="0"/>
                  </a:cubicBezTo>
                  <a:cubicBezTo>
                    <a:pt x="27242" y="0"/>
                    <a:pt x="26680" y="558"/>
                    <a:pt x="26680" y="1322"/>
                  </a:cubicBezTo>
                  <a:cubicBezTo>
                    <a:pt x="26680" y="2087"/>
                    <a:pt x="27242" y="2645"/>
                    <a:pt x="27992" y="2645"/>
                  </a:cubicBezTo>
                  <a:cubicBezTo>
                    <a:pt x="28408" y="2645"/>
                    <a:pt x="28757" y="2442"/>
                    <a:pt x="28924" y="2183"/>
                  </a:cubicBezTo>
                  <a:cubicBezTo>
                    <a:pt x="28714" y="2033"/>
                    <a:pt x="28714" y="2033"/>
                    <a:pt x="28714" y="2033"/>
                  </a:cubicBezTo>
                  <a:cubicBezTo>
                    <a:pt x="28526" y="2325"/>
                    <a:pt x="28255" y="2410"/>
                    <a:pt x="27992" y="2410"/>
                  </a:cubicBezTo>
                  <a:close/>
                  <a:moveTo>
                    <a:pt x="30490" y="2581"/>
                  </a:moveTo>
                  <a:cubicBezTo>
                    <a:pt x="30746" y="2581"/>
                    <a:pt x="30746" y="2581"/>
                    <a:pt x="30746" y="2581"/>
                  </a:cubicBezTo>
                  <a:cubicBezTo>
                    <a:pt x="30746" y="64"/>
                    <a:pt x="30746" y="64"/>
                    <a:pt x="30746" y="64"/>
                  </a:cubicBezTo>
                  <a:cubicBezTo>
                    <a:pt x="30490" y="64"/>
                    <a:pt x="30490" y="64"/>
                    <a:pt x="30490" y="64"/>
                  </a:cubicBezTo>
                  <a:lnTo>
                    <a:pt x="30490" y="2581"/>
                  </a:lnTo>
                  <a:close/>
                  <a:moveTo>
                    <a:pt x="32820" y="2346"/>
                  </a:moveTo>
                  <a:cubicBezTo>
                    <a:pt x="32820" y="64"/>
                    <a:pt x="32820" y="64"/>
                    <a:pt x="32820" y="64"/>
                  </a:cubicBezTo>
                  <a:cubicBezTo>
                    <a:pt x="32565" y="64"/>
                    <a:pt x="32565" y="64"/>
                    <a:pt x="32565" y="64"/>
                  </a:cubicBezTo>
                  <a:cubicBezTo>
                    <a:pt x="32565" y="2581"/>
                    <a:pt x="32565" y="2581"/>
                    <a:pt x="32565" y="2581"/>
                  </a:cubicBezTo>
                  <a:cubicBezTo>
                    <a:pt x="33994" y="2581"/>
                    <a:pt x="33994" y="2581"/>
                    <a:pt x="33994" y="2581"/>
                  </a:cubicBezTo>
                  <a:cubicBezTo>
                    <a:pt x="33994" y="2346"/>
                    <a:pt x="33994" y="2346"/>
                    <a:pt x="33994" y="2346"/>
                  </a:cubicBezTo>
                  <a:lnTo>
                    <a:pt x="32820" y="234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5" name="Freeform 9"/>
            <p:cNvSpPr>
              <a:spLocks noChangeAspect="1"/>
            </p:cNvSpPr>
            <p:nvPr/>
          </p:nvSpPr>
          <p:spPr bwMode="auto">
            <a:xfrm>
              <a:off x="4230688" y="1774825"/>
              <a:ext cx="546100" cy="533400"/>
            </a:xfrm>
            <a:custGeom>
              <a:avLst/>
              <a:gdLst>
                <a:gd name="T0" fmla="*/ 209 w 344"/>
                <a:gd name="T1" fmla="*/ 0 h 336"/>
                <a:gd name="T2" fmla="*/ 0 w 344"/>
                <a:gd name="T3" fmla="*/ 0 h 336"/>
                <a:gd name="T4" fmla="*/ 0 w 344"/>
                <a:gd name="T5" fmla="*/ 336 h 336"/>
                <a:gd name="T6" fmla="*/ 344 w 344"/>
                <a:gd name="T7" fmla="*/ 336 h 336"/>
                <a:gd name="T8" fmla="*/ 344 w 344"/>
                <a:gd name="T9" fmla="*/ 132 h 336"/>
                <a:gd name="T10" fmla="*/ 209 w 344"/>
                <a:gd name="T11" fmla="*/ 132 h 336"/>
                <a:gd name="T12" fmla="*/ 209 w 344"/>
                <a:gd name="T13" fmla="*/ 0 h 336"/>
                <a:gd name="T14" fmla="*/ 209 w 344"/>
                <a:gd name="T15" fmla="*/ 0 h 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36">
                  <a:moveTo>
                    <a:pt x="209" y="0"/>
                  </a:moveTo>
                  <a:lnTo>
                    <a:pt x="0" y="0"/>
                  </a:lnTo>
                  <a:lnTo>
                    <a:pt x="0" y="336"/>
                  </a:lnTo>
                  <a:lnTo>
                    <a:pt x="344" y="336"/>
                  </a:lnTo>
                  <a:lnTo>
                    <a:pt x="344" y="132"/>
                  </a:lnTo>
                  <a:lnTo>
                    <a:pt x="209" y="132"/>
                  </a:lnTo>
                  <a:lnTo>
                    <a:pt x="209" y="0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F89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16" name="Freeform 10"/>
            <p:cNvSpPr>
              <a:spLocks noChangeAspect="1"/>
            </p:cNvSpPr>
            <p:nvPr/>
          </p:nvSpPr>
          <p:spPr bwMode="auto">
            <a:xfrm>
              <a:off x="4562475" y="1633538"/>
              <a:ext cx="350838" cy="350838"/>
            </a:xfrm>
            <a:custGeom>
              <a:avLst/>
              <a:gdLst>
                <a:gd name="T0" fmla="*/ 221 w 221"/>
                <a:gd name="T1" fmla="*/ 0 h 221"/>
                <a:gd name="T2" fmla="*/ 0 w 221"/>
                <a:gd name="T3" fmla="*/ 0 h 221"/>
                <a:gd name="T4" fmla="*/ 0 w 221"/>
                <a:gd name="T5" fmla="*/ 89 h 221"/>
                <a:gd name="T6" fmla="*/ 135 w 221"/>
                <a:gd name="T7" fmla="*/ 89 h 221"/>
                <a:gd name="T8" fmla="*/ 135 w 221"/>
                <a:gd name="T9" fmla="*/ 221 h 221"/>
                <a:gd name="T10" fmla="*/ 221 w 221"/>
                <a:gd name="T11" fmla="*/ 221 h 221"/>
                <a:gd name="T12" fmla="*/ 221 w 221"/>
                <a:gd name="T13" fmla="*/ 0 h 221"/>
                <a:gd name="T14" fmla="*/ 221 w 221"/>
                <a:gd name="T15" fmla="*/ 0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21">
                  <a:moveTo>
                    <a:pt x="221" y="0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89"/>
                  </a:lnTo>
                  <a:lnTo>
                    <a:pt x="135" y="221"/>
                  </a:lnTo>
                  <a:lnTo>
                    <a:pt x="221" y="221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16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641812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57201" y="914400"/>
            <a:ext cx="8229602" cy="3714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3279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1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134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2" y="914400"/>
            <a:ext cx="8229601" cy="3714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0" indent="0">
              <a:buNone/>
              <a:defRPr b="0">
                <a:solidFill>
                  <a:schemeClr val="tx2"/>
                </a:solidFill>
              </a:defRPr>
            </a:lvl2pPr>
            <a:lvl3pPr marL="0" indent="0">
              <a:buNone/>
              <a:defRPr b="0">
                <a:solidFill>
                  <a:schemeClr val="tx2"/>
                </a:solidFill>
              </a:defRPr>
            </a:lvl3pPr>
            <a:lvl4pPr marL="227007" indent="-169859">
              <a:buClrTx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4pPr>
            <a:lvl5pPr marL="514337" indent="-171446">
              <a:buClrTx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30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681568" y="923927"/>
            <a:ext cx="4005115" cy="37052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819150"/>
            <a:ext cx="4005072" cy="36576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6830" indent="0">
              <a:buNone/>
              <a:defRPr sz="2025" b="1"/>
            </a:lvl2pPr>
            <a:lvl3pPr marL="913662" indent="0">
              <a:buNone/>
              <a:defRPr sz="1800" b="1"/>
            </a:lvl3pPr>
            <a:lvl4pPr marL="1370494" indent="0">
              <a:buNone/>
              <a:defRPr sz="1575" b="1"/>
            </a:lvl4pPr>
            <a:lvl5pPr marL="1827323" indent="0">
              <a:buNone/>
              <a:defRPr sz="1575" b="1"/>
            </a:lvl5pPr>
            <a:lvl6pPr marL="2284148" indent="0">
              <a:buNone/>
              <a:defRPr sz="1575" b="1"/>
            </a:lvl6pPr>
            <a:lvl7pPr marL="2740985" indent="0">
              <a:buNone/>
              <a:defRPr sz="1575" b="1"/>
            </a:lvl7pPr>
            <a:lvl8pPr marL="3197812" indent="0">
              <a:buNone/>
              <a:defRPr sz="1575" b="1"/>
            </a:lvl8pPr>
            <a:lvl9pPr marL="3654640" indent="0">
              <a:buNone/>
              <a:defRPr sz="1575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199" y="1292243"/>
            <a:ext cx="4005072" cy="33369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/>
              <a:t>Click icon to add pictur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4700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57201" y="914400"/>
            <a:ext cx="8229602" cy="3714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738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16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46614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57201" y="914400"/>
            <a:ext cx="8229602" cy="3714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182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1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57320" y="923925"/>
            <a:ext cx="4005116" cy="37028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/>
          </p:nvPr>
        </p:nvSpPr>
        <p:spPr>
          <a:xfrm>
            <a:off x="4681567" y="923925"/>
            <a:ext cx="4005115" cy="37028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47951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54186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01317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3308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457201" y="914400"/>
            <a:ext cx="8229602" cy="3714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9135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16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914400"/>
            <a:ext cx="8229601" cy="3714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0" indent="0">
              <a:buNone/>
              <a:defRPr b="0">
                <a:solidFill>
                  <a:schemeClr val="tx2"/>
                </a:solidFill>
              </a:defRPr>
            </a:lvl2pPr>
            <a:lvl3pPr marL="0" indent="0">
              <a:buNone/>
              <a:defRPr b="0">
                <a:solidFill>
                  <a:schemeClr val="tx2"/>
                </a:solidFill>
              </a:defRPr>
            </a:lvl3pPr>
            <a:lvl4pPr marL="227013" indent="-169863">
              <a:buClrTx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4pPr>
            <a:lvl5pPr marL="514350" indent="-171450">
              <a:buClrTx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809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457319" y="1232298"/>
            <a:ext cx="4005116" cy="33968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>
          <a:xfrm>
            <a:off x="4681566" y="1232298"/>
            <a:ext cx="4005115" cy="33968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199" y="819150"/>
            <a:ext cx="4005072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681730" y="819150"/>
            <a:ext cx="4005072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11324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1309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 - 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1" y="914400"/>
            <a:ext cx="8229601" cy="37147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chemeClr val="accent1"/>
                </a:solidFill>
              </a:defRPr>
            </a:lvl1pPr>
            <a:lvl2pPr marL="0" indent="0">
              <a:buNone/>
              <a:defRPr b="0">
                <a:solidFill>
                  <a:schemeClr val="tx2"/>
                </a:solidFill>
              </a:defRPr>
            </a:lvl2pPr>
            <a:lvl3pPr marL="0" indent="0">
              <a:buNone/>
              <a:defRPr b="0">
                <a:solidFill>
                  <a:schemeClr val="tx2"/>
                </a:solidFill>
              </a:defRPr>
            </a:lvl3pPr>
            <a:lvl4pPr marL="227013" indent="-169863">
              <a:buClrTx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4pPr>
            <a:lvl5pPr marL="514350" indent="-171450">
              <a:buClrTx/>
              <a:buFont typeface="Wingdings" panose="05000000000000000000" pitchFamily="2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81681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19971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2342569" y="1978296"/>
            <a:ext cx="5594023" cy="516968"/>
          </a:xfrm>
        </p:spPr>
        <p:txBody>
          <a:bodyPr wrap="square" anchor="ctr" anchorCtr="0">
            <a:spAutoFit/>
          </a:bodyPr>
          <a:lstStyle>
            <a:lvl1pPr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&lt;Section Name Here&gt;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342569" y="2514600"/>
            <a:ext cx="5594022" cy="2857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FFFFFF"/>
                </a:solidFill>
              </a:defRPr>
            </a:lvl1pPr>
            <a:lvl2pPr marL="288707" indent="0">
              <a:buNone/>
              <a:defRPr/>
            </a:lvl2pPr>
            <a:lvl3pPr marL="569477" indent="0">
              <a:buNone/>
              <a:defRPr/>
            </a:lvl3pPr>
            <a:lvl4pPr marL="855009" indent="0">
              <a:buNone/>
              <a:defRPr/>
            </a:lvl4pPr>
            <a:lvl5pPr marL="1140542" indent="0">
              <a:buNone/>
              <a:defRPr/>
            </a:lvl5pPr>
          </a:lstStyle>
          <a:p>
            <a:pPr lvl="0"/>
            <a:r>
              <a:rPr lang="en-US" dirty="0"/>
              <a:t>&lt;sub head here&gt;</a:t>
            </a:r>
          </a:p>
        </p:txBody>
      </p:sp>
    </p:spTree>
    <p:extLst>
      <p:ext uri="{BB962C8B-B14F-4D97-AF65-F5344CB8AC3E}">
        <p14:creationId xmlns:p14="http://schemas.microsoft.com/office/powerpoint/2010/main" val="1062477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4"/>
          </p:nvPr>
        </p:nvSpPr>
        <p:spPr>
          <a:xfrm>
            <a:off x="457319" y="923925"/>
            <a:ext cx="4005116" cy="37028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5"/>
          </p:nvPr>
        </p:nvSpPr>
        <p:spPr>
          <a:xfrm>
            <a:off x="4681566" y="923925"/>
            <a:ext cx="4005115" cy="370284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7563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sz="quarter" idx="16"/>
          </p:nvPr>
        </p:nvSpPr>
        <p:spPr>
          <a:xfrm>
            <a:off x="457319" y="1232298"/>
            <a:ext cx="4005116" cy="33968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>
          <a:xfrm>
            <a:off x="4681566" y="1232298"/>
            <a:ext cx="4005115" cy="33968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199" y="819150"/>
            <a:ext cx="4005072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4681730" y="819150"/>
            <a:ext cx="4005072" cy="3077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40001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681566" y="923925"/>
            <a:ext cx="4005115" cy="37052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819150"/>
            <a:ext cx="4005072" cy="36576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6854" indent="0">
              <a:buNone/>
              <a:defRPr sz="2025" b="1"/>
            </a:lvl2pPr>
            <a:lvl3pPr marL="913708" indent="0">
              <a:buNone/>
              <a:defRPr sz="1800" b="1"/>
            </a:lvl3pPr>
            <a:lvl4pPr marL="1370562" indent="0">
              <a:buNone/>
              <a:defRPr sz="1575" b="1"/>
            </a:lvl4pPr>
            <a:lvl5pPr marL="1827413" indent="0">
              <a:buNone/>
              <a:defRPr sz="1575" b="1"/>
            </a:lvl5pPr>
            <a:lvl6pPr marL="2284262" indent="0">
              <a:buNone/>
              <a:defRPr sz="1575" b="1"/>
            </a:lvl6pPr>
            <a:lvl7pPr marL="2741123" indent="0">
              <a:buNone/>
              <a:defRPr sz="1575" b="1"/>
            </a:lvl7pPr>
            <a:lvl8pPr marL="3197972" indent="0">
              <a:buNone/>
              <a:defRPr sz="1575" b="1"/>
            </a:lvl8pPr>
            <a:lvl9pPr marL="3654822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457199" y="1292241"/>
            <a:ext cx="4005072" cy="33369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7032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with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4"/>
          </p:nvPr>
        </p:nvSpPr>
        <p:spPr>
          <a:xfrm>
            <a:off x="4681566" y="923925"/>
            <a:ext cx="4005115" cy="37052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819150"/>
            <a:ext cx="4005072" cy="36576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400" b="0">
                <a:solidFill>
                  <a:schemeClr val="accent1"/>
                </a:solidFill>
              </a:defRPr>
            </a:lvl1pPr>
            <a:lvl2pPr marL="456854" indent="0">
              <a:buNone/>
              <a:defRPr sz="2025" b="1"/>
            </a:lvl2pPr>
            <a:lvl3pPr marL="913708" indent="0">
              <a:buNone/>
              <a:defRPr sz="1800" b="1"/>
            </a:lvl3pPr>
            <a:lvl4pPr marL="1370562" indent="0">
              <a:buNone/>
              <a:defRPr sz="1575" b="1"/>
            </a:lvl4pPr>
            <a:lvl5pPr marL="1827413" indent="0">
              <a:buNone/>
              <a:defRPr sz="1575" b="1"/>
            </a:lvl5pPr>
            <a:lvl6pPr marL="2284262" indent="0">
              <a:buNone/>
              <a:defRPr sz="1575" b="1"/>
            </a:lvl6pPr>
            <a:lvl7pPr marL="2741123" indent="0">
              <a:buNone/>
              <a:defRPr sz="1575" b="1"/>
            </a:lvl7pPr>
            <a:lvl8pPr marL="3197972" indent="0">
              <a:buNone/>
              <a:defRPr sz="1575" b="1"/>
            </a:lvl8pPr>
            <a:lvl9pPr marL="3654822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hart Placeholder 11"/>
          <p:cNvSpPr>
            <a:spLocks noGrp="1"/>
          </p:cNvSpPr>
          <p:nvPr>
            <p:ph type="chart" sz="quarter" idx="11"/>
          </p:nvPr>
        </p:nvSpPr>
        <p:spPr>
          <a:xfrm>
            <a:off x="457199" y="1292241"/>
            <a:ext cx="4005072" cy="33369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icon to add char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3300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4681566" y="914400"/>
            <a:ext cx="4005115" cy="371475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4263390"/>
            <a:ext cx="4005072" cy="36576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2025" b="0">
                <a:solidFill>
                  <a:schemeClr val="accent1"/>
                </a:solidFill>
              </a:defRPr>
            </a:lvl1pPr>
            <a:lvl2pPr marL="456854" indent="0">
              <a:buNone/>
              <a:defRPr sz="2025" b="1"/>
            </a:lvl2pPr>
            <a:lvl3pPr marL="913708" indent="0">
              <a:buNone/>
              <a:defRPr sz="1800" b="1"/>
            </a:lvl3pPr>
            <a:lvl4pPr marL="1370562" indent="0">
              <a:buNone/>
              <a:defRPr sz="1575" b="1"/>
            </a:lvl4pPr>
            <a:lvl5pPr marL="1827413" indent="0">
              <a:buNone/>
              <a:defRPr sz="1575" b="1"/>
            </a:lvl5pPr>
            <a:lvl6pPr marL="2284262" indent="0">
              <a:buNone/>
              <a:defRPr sz="1575" b="1"/>
            </a:lvl6pPr>
            <a:lvl7pPr marL="2741123" indent="0">
              <a:buNone/>
              <a:defRPr sz="1575" b="1"/>
            </a:lvl7pPr>
            <a:lvl8pPr marL="3197972" indent="0">
              <a:buNone/>
              <a:defRPr sz="1575" b="1"/>
            </a:lvl8pPr>
            <a:lvl9pPr marL="3654822" indent="0">
              <a:buNone/>
              <a:defRPr sz="1575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ounded Rectangle 3"/>
          <p:cNvSpPr/>
          <p:nvPr userDrawn="1"/>
        </p:nvSpPr>
        <p:spPr>
          <a:xfrm>
            <a:off x="457200" y="923927"/>
            <a:ext cx="4005072" cy="3242439"/>
          </a:xfrm>
          <a:prstGeom prst="roundRect">
            <a:avLst>
              <a:gd name="adj" fmla="val 3521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68" tIns="45684" rIns="91368" bIns="45684" rtlCol="0" anchor="ctr"/>
          <a:lstStyle/>
          <a:p>
            <a:pPr algn="ctr" defTabSz="913708" fontAlgn="auto">
              <a:spcBef>
                <a:spcPts val="0"/>
              </a:spcBef>
              <a:spcAft>
                <a:spcPts val="0"/>
              </a:spcAft>
            </a:pPr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6" name="Media Placeholder 5"/>
          <p:cNvSpPr>
            <a:spLocks noGrp="1"/>
          </p:cNvSpPr>
          <p:nvPr>
            <p:ph type="media" sz="quarter" idx="11"/>
          </p:nvPr>
        </p:nvSpPr>
        <p:spPr>
          <a:xfrm>
            <a:off x="609605" y="1106492"/>
            <a:ext cx="3700463" cy="285362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171073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vmlDrawing" Target="../drawings/vmlDrawing1.vml"/><Relationship Id="rId21" Type="http://schemas.openxmlformats.org/officeDocument/2006/relationships/image" Target="../media/image3.emf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" Type="http://schemas.openxmlformats.org/officeDocument/2006/relationships/theme" Target="../theme/theme2.xml"/><Relationship Id="rId16" Type="http://schemas.openxmlformats.org/officeDocument/2006/relationships/tags" Target="../tags/tag13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4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image" Target="../media/image4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/Relationships>
</file>

<file path=ppt/slideMasters/_rels/slideMaster7.xml.rels><?xml version="1.0" encoding="UTF-8" standalone="yes"?>
<Relationships xmlns="http://schemas.openxmlformats.org/package/2006/relationships"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3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heme" Target="../theme/theme8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436960" y="4879547"/>
            <a:ext cx="3068239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75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l" defTabSz="913708" rtl="0" fontAlgn="auto">
              <a:spcBef>
                <a:spcPts val="0"/>
              </a:spcBef>
              <a:spcAft>
                <a:spcPts val="0"/>
              </a:spcAft>
            </a:pPr>
            <a:r>
              <a:rPr lang="en-US" sz="6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© 2019 Technology Business Management Council, All rights reserved.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-1192" y="4879547"/>
            <a:ext cx="33909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8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708" fontAlgn="auto">
              <a:spcBef>
                <a:spcPts val="0"/>
              </a:spcBef>
              <a:spcAft>
                <a:spcPts val="0"/>
              </a:spcAft>
            </a:pPr>
            <a:fld id="{4C1362D4-5ABD-4326-94E6-7A5ADE3C9964}" type="slidenum">
              <a:rPr lang="en-US" sz="700" smtClean="0">
                <a:solidFill>
                  <a:schemeClr val="accent1"/>
                </a:solidFill>
                <a:ea typeface="+mn-ea"/>
              </a:rPr>
              <a:pPr defTabSz="91370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>
              <a:solidFill>
                <a:schemeClr val="accent1"/>
              </a:solidFill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1" y="914401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7721600" y="4855433"/>
            <a:ext cx="1143001" cy="186415"/>
            <a:chOff x="2498725" y="0"/>
            <a:chExt cx="4146551" cy="676276"/>
          </a:xfrm>
        </p:grpSpPr>
        <p:sp>
          <p:nvSpPr>
            <p:cNvPr id="17" name="Freeform 5"/>
            <p:cNvSpPr>
              <a:spLocks noChangeAspect="1" noEditPoints="1"/>
            </p:cNvSpPr>
            <p:nvPr/>
          </p:nvSpPr>
          <p:spPr bwMode="auto">
            <a:xfrm>
              <a:off x="3443288" y="239713"/>
              <a:ext cx="3201988" cy="249238"/>
            </a:xfrm>
            <a:custGeom>
              <a:avLst/>
              <a:gdLst>
                <a:gd name="T0" fmla="*/ 1991 w 33994"/>
                <a:gd name="T1" fmla="*/ 64 h 2645"/>
                <a:gd name="T2" fmla="*/ 1273 w 33994"/>
                <a:gd name="T3" fmla="*/ 555 h 2645"/>
                <a:gd name="T4" fmla="*/ 718 w 33994"/>
                <a:gd name="T5" fmla="*/ 2581 h 2645"/>
                <a:gd name="T6" fmla="*/ 0 w 33994"/>
                <a:gd name="T7" fmla="*/ 555 h 2645"/>
                <a:gd name="T8" fmla="*/ 5171 w 33994"/>
                <a:gd name="T9" fmla="*/ 1881 h 2645"/>
                <a:gd name="T10" fmla="*/ 3195 w 33994"/>
                <a:gd name="T11" fmla="*/ 2581 h 2645"/>
                <a:gd name="T12" fmla="*/ 4133 w 33994"/>
                <a:gd name="T13" fmla="*/ 64 h 2645"/>
                <a:gd name="T14" fmla="*/ 4620 w 33994"/>
                <a:gd name="T15" fmla="*/ 1259 h 2645"/>
                <a:gd name="T16" fmla="*/ 5171 w 33994"/>
                <a:gd name="T17" fmla="*/ 1881 h 2645"/>
                <a:gd name="T18" fmla="*/ 4151 w 33994"/>
                <a:gd name="T19" fmla="*/ 1070 h 2645"/>
                <a:gd name="T20" fmla="*/ 4126 w 33994"/>
                <a:gd name="T21" fmla="*/ 534 h 2645"/>
                <a:gd name="T22" fmla="*/ 3749 w 33994"/>
                <a:gd name="T23" fmla="*/ 1070 h 2645"/>
                <a:gd name="T24" fmla="*/ 4169 w 33994"/>
                <a:gd name="T25" fmla="*/ 1540 h 2645"/>
                <a:gd name="T26" fmla="*/ 3749 w 33994"/>
                <a:gd name="T27" fmla="*/ 2112 h 2645"/>
                <a:gd name="T28" fmla="*/ 4617 w 33994"/>
                <a:gd name="T29" fmla="*/ 1817 h 2645"/>
                <a:gd name="T30" fmla="*/ 7697 w 33994"/>
                <a:gd name="T31" fmla="*/ 1707 h 2645"/>
                <a:gd name="T32" fmla="*/ 6279 w 33994"/>
                <a:gd name="T33" fmla="*/ 64 h 2645"/>
                <a:gd name="T34" fmla="*/ 6833 w 33994"/>
                <a:gd name="T35" fmla="*/ 2581 h 2645"/>
                <a:gd name="T36" fmla="*/ 6840 w 33994"/>
                <a:gd name="T37" fmla="*/ 651 h 2645"/>
                <a:gd name="T38" fmla="*/ 7900 w 33994"/>
                <a:gd name="T39" fmla="*/ 2581 h 2645"/>
                <a:gd name="T40" fmla="*/ 8568 w 33994"/>
                <a:gd name="T41" fmla="*/ 651 h 2645"/>
                <a:gd name="T42" fmla="*/ 9123 w 33994"/>
                <a:gd name="T43" fmla="*/ 2581 h 2645"/>
                <a:gd name="T44" fmla="*/ 8287 w 33994"/>
                <a:gd name="T45" fmla="*/ 64 h 2645"/>
                <a:gd name="T46" fmla="*/ 13062 w 33994"/>
                <a:gd name="T47" fmla="*/ 2411 h 2645"/>
                <a:gd name="T48" fmla="*/ 13062 w 33994"/>
                <a:gd name="T49" fmla="*/ 235 h 2645"/>
                <a:gd name="T50" fmla="*/ 13933 w 33994"/>
                <a:gd name="T51" fmla="*/ 399 h 2645"/>
                <a:gd name="T52" fmla="*/ 11751 w 33994"/>
                <a:gd name="T53" fmla="*/ 1323 h 2645"/>
                <a:gd name="T54" fmla="*/ 13994 w 33994"/>
                <a:gd name="T55" fmla="*/ 2183 h 2645"/>
                <a:gd name="T56" fmla="*/ 13062 w 33994"/>
                <a:gd name="T57" fmla="*/ 2411 h 2645"/>
                <a:gd name="T58" fmla="*/ 16559 w 33994"/>
                <a:gd name="T59" fmla="*/ 2645 h 2645"/>
                <a:gd name="T60" fmla="*/ 16559 w 33994"/>
                <a:gd name="T61" fmla="*/ 0 h 2645"/>
                <a:gd name="T62" fmla="*/ 17593 w 33994"/>
                <a:gd name="T63" fmla="*/ 1323 h 2645"/>
                <a:gd name="T64" fmla="*/ 15524 w 33994"/>
                <a:gd name="T65" fmla="*/ 1323 h 2645"/>
                <a:gd name="T66" fmla="*/ 17593 w 33994"/>
                <a:gd name="T67" fmla="*/ 1323 h 2645"/>
                <a:gd name="T68" fmla="*/ 20254 w 33994"/>
                <a:gd name="T69" fmla="*/ 2411 h 2645"/>
                <a:gd name="T70" fmla="*/ 19589 w 33994"/>
                <a:gd name="T71" fmla="*/ 64 h 2645"/>
                <a:gd name="T72" fmla="*/ 19333 w 33994"/>
                <a:gd name="T73" fmla="*/ 1643 h 2645"/>
                <a:gd name="T74" fmla="*/ 21175 w 33994"/>
                <a:gd name="T75" fmla="*/ 1643 h 2645"/>
                <a:gd name="T76" fmla="*/ 20919 w 33994"/>
                <a:gd name="T77" fmla="*/ 64 h 2645"/>
                <a:gd name="T78" fmla="*/ 24777 w 33994"/>
                <a:gd name="T79" fmla="*/ 2197 h 2645"/>
                <a:gd name="T80" fmla="*/ 23270 w 33994"/>
                <a:gd name="T81" fmla="*/ 64 h 2645"/>
                <a:gd name="T82" fmla="*/ 22950 w 33994"/>
                <a:gd name="T83" fmla="*/ 2581 h 2645"/>
                <a:gd name="T84" fmla="*/ 23206 w 33994"/>
                <a:gd name="T85" fmla="*/ 427 h 2645"/>
                <a:gd name="T86" fmla="*/ 24713 w 33994"/>
                <a:gd name="T87" fmla="*/ 2581 h 2645"/>
                <a:gd name="T88" fmla="*/ 25033 w 33994"/>
                <a:gd name="T89" fmla="*/ 64 h 2645"/>
                <a:gd name="T90" fmla="*/ 24777 w 33994"/>
                <a:gd name="T91" fmla="*/ 2197 h 2645"/>
                <a:gd name="T92" fmla="*/ 26958 w 33994"/>
                <a:gd name="T93" fmla="*/ 1323 h 2645"/>
                <a:gd name="T94" fmla="*/ 28640 w 33994"/>
                <a:gd name="T95" fmla="*/ 566 h 2645"/>
                <a:gd name="T96" fmla="*/ 27993 w 33994"/>
                <a:gd name="T97" fmla="*/ 0 h 2645"/>
                <a:gd name="T98" fmla="*/ 27993 w 33994"/>
                <a:gd name="T99" fmla="*/ 2645 h 2645"/>
                <a:gd name="T100" fmla="*/ 28714 w 33994"/>
                <a:gd name="T101" fmla="*/ 2034 h 2645"/>
                <a:gd name="T102" fmla="*/ 30490 w 33994"/>
                <a:gd name="T103" fmla="*/ 2581 h 2645"/>
                <a:gd name="T104" fmla="*/ 30746 w 33994"/>
                <a:gd name="T105" fmla="*/ 64 h 2645"/>
                <a:gd name="T106" fmla="*/ 30490 w 33994"/>
                <a:gd name="T107" fmla="*/ 2581 h 2645"/>
                <a:gd name="T108" fmla="*/ 32821 w 33994"/>
                <a:gd name="T109" fmla="*/ 64 h 2645"/>
                <a:gd name="T110" fmla="*/ 32565 w 33994"/>
                <a:gd name="T111" fmla="*/ 2581 h 2645"/>
                <a:gd name="T112" fmla="*/ 33994 w 33994"/>
                <a:gd name="T113" fmla="*/ 2347 h 2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994" h="2645">
                  <a:moveTo>
                    <a:pt x="0" y="64"/>
                  </a:moveTo>
                  <a:cubicBezTo>
                    <a:pt x="1991" y="64"/>
                    <a:pt x="1991" y="64"/>
                    <a:pt x="1991" y="64"/>
                  </a:cubicBezTo>
                  <a:cubicBezTo>
                    <a:pt x="1991" y="555"/>
                    <a:pt x="1991" y="555"/>
                    <a:pt x="1991" y="555"/>
                  </a:cubicBezTo>
                  <a:cubicBezTo>
                    <a:pt x="1273" y="555"/>
                    <a:pt x="1273" y="555"/>
                    <a:pt x="1273" y="555"/>
                  </a:cubicBezTo>
                  <a:cubicBezTo>
                    <a:pt x="1273" y="2581"/>
                    <a:pt x="1273" y="2581"/>
                    <a:pt x="1273" y="2581"/>
                  </a:cubicBezTo>
                  <a:cubicBezTo>
                    <a:pt x="718" y="2581"/>
                    <a:pt x="718" y="2581"/>
                    <a:pt x="718" y="2581"/>
                  </a:cubicBezTo>
                  <a:cubicBezTo>
                    <a:pt x="718" y="555"/>
                    <a:pt x="718" y="555"/>
                    <a:pt x="718" y="555"/>
                  </a:cubicBezTo>
                  <a:cubicBezTo>
                    <a:pt x="0" y="555"/>
                    <a:pt x="0" y="555"/>
                    <a:pt x="0" y="555"/>
                  </a:cubicBezTo>
                  <a:lnTo>
                    <a:pt x="0" y="64"/>
                  </a:lnTo>
                  <a:close/>
                  <a:moveTo>
                    <a:pt x="5171" y="1881"/>
                  </a:moveTo>
                  <a:cubicBezTo>
                    <a:pt x="5171" y="2407"/>
                    <a:pt x="4673" y="2581"/>
                    <a:pt x="4225" y="2581"/>
                  </a:cubicBezTo>
                  <a:cubicBezTo>
                    <a:pt x="3195" y="2581"/>
                    <a:pt x="3195" y="2581"/>
                    <a:pt x="3195" y="2581"/>
                  </a:cubicBezTo>
                  <a:cubicBezTo>
                    <a:pt x="3195" y="64"/>
                    <a:pt x="3195" y="64"/>
                    <a:pt x="3195" y="64"/>
                  </a:cubicBezTo>
                  <a:cubicBezTo>
                    <a:pt x="4133" y="64"/>
                    <a:pt x="4133" y="64"/>
                    <a:pt x="4133" y="64"/>
                  </a:cubicBezTo>
                  <a:cubicBezTo>
                    <a:pt x="4574" y="64"/>
                    <a:pt x="5054" y="157"/>
                    <a:pt x="5054" y="704"/>
                  </a:cubicBezTo>
                  <a:cubicBezTo>
                    <a:pt x="5054" y="985"/>
                    <a:pt x="4880" y="1177"/>
                    <a:pt x="4620" y="1259"/>
                  </a:cubicBezTo>
                  <a:cubicBezTo>
                    <a:pt x="4620" y="1266"/>
                    <a:pt x="4620" y="1266"/>
                    <a:pt x="4620" y="1266"/>
                  </a:cubicBezTo>
                  <a:cubicBezTo>
                    <a:pt x="4951" y="1309"/>
                    <a:pt x="5171" y="1554"/>
                    <a:pt x="5171" y="1881"/>
                  </a:cubicBezTo>
                  <a:close/>
                  <a:moveTo>
                    <a:pt x="3749" y="1070"/>
                  </a:moveTo>
                  <a:cubicBezTo>
                    <a:pt x="4151" y="1070"/>
                    <a:pt x="4151" y="1070"/>
                    <a:pt x="4151" y="1070"/>
                  </a:cubicBezTo>
                  <a:cubicBezTo>
                    <a:pt x="4321" y="1070"/>
                    <a:pt x="4499" y="999"/>
                    <a:pt x="4499" y="797"/>
                  </a:cubicBezTo>
                  <a:cubicBezTo>
                    <a:pt x="4499" y="587"/>
                    <a:pt x="4300" y="534"/>
                    <a:pt x="4126" y="534"/>
                  </a:cubicBezTo>
                  <a:cubicBezTo>
                    <a:pt x="3749" y="534"/>
                    <a:pt x="3749" y="534"/>
                    <a:pt x="3749" y="534"/>
                  </a:cubicBezTo>
                  <a:lnTo>
                    <a:pt x="3749" y="1070"/>
                  </a:lnTo>
                  <a:close/>
                  <a:moveTo>
                    <a:pt x="4617" y="1817"/>
                  </a:moveTo>
                  <a:cubicBezTo>
                    <a:pt x="4617" y="1579"/>
                    <a:pt x="4350" y="1540"/>
                    <a:pt x="4169" y="1540"/>
                  </a:cubicBezTo>
                  <a:cubicBezTo>
                    <a:pt x="3749" y="1540"/>
                    <a:pt x="3749" y="1540"/>
                    <a:pt x="3749" y="1540"/>
                  </a:cubicBezTo>
                  <a:cubicBezTo>
                    <a:pt x="3749" y="2112"/>
                    <a:pt x="3749" y="2112"/>
                    <a:pt x="3749" y="2112"/>
                  </a:cubicBezTo>
                  <a:cubicBezTo>
                    <a:pt x="4247" y="2112"/>
                    <a:pt x="4247" y="2112"/>
                    <a:pt x="4247" y="2112"/>
                  </a:cubicBezTo>
                  <a:cubicBezTo>
                    <a:pt x="4421" y="2112"/>
                    <a:pt x="4617" y="2037"/>
                    <a:pt x="4617" y="1817"/>
                  </a:cubicBezTo>
                  <a:close/>
                  <a:moveTo>
                    <a:pt x="7704" y="1707"/>
                  </a:moveTo>
                  <a:cubicBezTo>
                    <a:pt x="7697" y="1707"/>
                    <a:pt x="7697" y="1707"/>
                    <a:pt x="7697" y="1707"/>
                  </a:cubicBezTo>
                  <a:cubicBezTo>
                    <a:pt x="7118" y="64"/>
                    <a:pt x="7118" y="64"/>
                    <a:pt x="7118" y="64"/>
                  </a:cubicBezTo>
                  <a:cubicBezTo>
                    <a:pt x="6279" y="64"/>
                    <a:pt x="6279" y="64"/>
                    <a:pt x="6279" y="64"/>
                  </a:cubicBezTo>
                  <a:cubicBezTo>
                    <a:pt x="6279" y="2581"/>
                    <a:pt x="6279" y="2581"/>
                    <a:pt x="6279" y="2581"/>
                  </a:cubicBezTo>
                  <a:cubicBezTo>
                    <a:pt x="6833" y="2581"/>
                    <a:pt x="6833" y="2581"/>
                    <a:pt x="6833" y="2581"/>
                  </a:cubicBezTo>
                  <a:cubicBezTo>
                    <a:pt x="6833" y="651"/>
                    <a:pt x="6833" y="651"/>
                    <a:pt x="6833" y="651"/>
                  </a:cubicBezTo>
                  <a:cubicBezTo>
                    <a:pt x="6840" y="651"/>
                    <a:pt x="6840" y="651"/>
                    <a:pt x="6840" y="651"/>
                  </a:cubicBezTo>
                  <a:cubicBezTo>
                    <a:pt x="7477" y="2581"/>
                    <a:pt x="7477" y="2581"/>
                    <a:pt x="7477" y="2581"/>
                  </a:cubicBezTo>
                  <a:cubicBezTo>
                    <a:pt x="7900" y="2581"/>
                    <a:pt x="7900" y="2581"/>
                    <a:pt x="7900" y="2581"/>
                  </a:cubicBezTo>
                  <a:cubicBezTo>
                    <a:pt x="8561" y="651"/>
                    <a:pt x="8561" y="651"/>
                    <a:pt x="8561" y="651"/>
                  </a:cubicBezTo>
                  <a:cubicBezTo>
                    <a:pt x="8568" y="651"/>
                    <a:pt x="8568" y="651"/>
                    <a:pt x="8568" y="651"/>
                  </a:cubicBezTo>
                  <a:cubicBezTo>
                    <a:pt x="8568" y="2581"/>
                    <a:pt x="8568" y="2581"/>
                    <a:pt x="8568" y="2581"/>
                  </a:cubicBezTo>
                  <a:cubicBezTo>
                    <a:pt x="9123" y="2581"/>
                    <a:pt x="9123" y="2581"/>
                    <a:pt x="9123" y="2581"/>
                  </a:cubicBezTo>
                  <a:cubicBezTo>
                    <a:pt x="9123" y="64"/>
                    <a:pt x="9123" y="64"/>
                    <a:pt x="9123" y="64"/>
                  </a:cubicBezTo>
                  <a:cubicBezTo>
                    <a:pt x="8287" y="64"/>
                    <a:pt x="8287" y="64"/>
                    <a:pt x="8287" y="64"/>
                  </a:cubicBezTo>
                  <a:lnTo>
                    <a:pt x="7704" y="1707"/>
                  </a:lnTo>
                  <a:close/>
                  <a:moveTo>
                    <a:pt x="13062" y="2411"/>
                  </a:moveTo>
                  <a:cubicBezTo>
                    <a:pt x="12415" y="2411"/>
                    <a:pt x="12028" y="1902"/>
                    <a:pt x="12028" y="1323"/>
                  </a:cubicBezTo>
                  <a:cubicBezTo>
                    <a:pt x="12028" y="743"/>
                    <a:pt x="12415" y="235"/>
                    <a:pt x="13062" y="235"/>
                  </a:cubicBezTo>
                  <a:cubicBezTo>
                    <a:pt x="13329" y="235"/>
                    <a:pt x="13610" y="402"/>
                    <a:pt x="13709" y="566"/>
                  </a:cubicBezTo>
                  <a:cubicBezTo>
                    <a:pt x="13933" y="399"/>
                    <a:pt x="13933" y="399"/>
                    <a:pt x="13933" y="399"/>
                  </a:cubicBezTo>
                  <a:cubicBezTo>
                    <a:pt x="13713" y="118"/>
                    <a:pt x="13375" y="0"/>
                    <a:pt x="13062" y="0"/>
                  </a:cubicBezTo>
                  <a:cubicBezTo>
                    <a:pt x="12312" y="0"/>
                    <a:pt x="11751" y="558"/>
                    <a:pt x="11751" y="1323"/>
                  </a:cubicBezTo>
                  <a:cubicBezTo>
                    <a:pt x="11751" y="2087"/>
                    <a:pt x="12312" y="2645"/>
                    <a:pt x="13062" y="2645"/>
                  </a:cubicBezTo>
                  <a:cubicBezTo>
                    <a:pt x="13478" y="2645"/>
                    <a:pt x="13827" y="2443"/>
                    <a:pt x="13994" y="2183"/>
                  </a:cubicBezTo>
                  <a:cubicBezTo>
                    <a:pt x="13784" y="2034"/>
                    <a:pt x="13784" y="2034"/>
                    <a:pt x="13784" y="2034"/>
                  </a:cubicBezTo>
                  <a:cubicBezTo>
                    <a:pt x="13595" y="2325"/>
                    <a:pt x="13325" y="2411"/>
                    <a:pt x="13062" y="2411"/>
                  </a:cubicBezTo>
                  <a:close/>
                  <a:moveTo>
                    <a:pt x="17870" y="1323"/>
                  </a:moveTo>
                  <a:cubicBezTo>
                    <a:pt x="17870" y="2087"/>
                    <a:pt x="17309" y="2645"/>
                    <a:pt x="16559" y="2645"/>
                  </a:cubicBezTo>
                  <a:cubicBezTo>
                    <a:pt x="15809" y="2645"/>
                    <a:pt x="15247" y="2087"/>
                    <a:pt x="15247" y="1323"/>
                  </a:cubicBezTo>
                  <a:cubicBezTo>
                    <a:pt x="15247" y="558"/>
                    <a:pt x="15809" y="0"/>
                    <a:pt x="16559" y="0"/>
                  </a:cubicBezTo>
                  <a:cubicBezTo>
                    <a:pt x="17309" y="0"/>
                    <a:pt x="17870" y="558"/>
                    <a:pt x="17870" y="1323"/>
                  </a:cubicBezTo>
                  <a:close/>
                  <a:moveTo>
                    <a:pt x="17593" y="1323"/>
                  </a:moveTo>
                  <a:cubicBezTo>
                    <a:pt x="17593" y="743"/>
                    <a:pt x="17206" y="235"/>
                    <a:pt x="16559" y="235"/>
                  </a:cubicBezTo>
                  <a:cubicBezTo>
                    <a:pt x="15912" y="235"/>
                    <a:pt x="15524" y="743"/>
                    <a:pt x="15524" y="1323"/>
                  </a:cubicBezTo>
                  <a:cubicBezTo>
                    <a:pt x="15524" y="1902"/>
                    <a:pt x="15912" y="2411"/>
                    <a:pt x="16559" y="2411"/>
                  </a:cubicBezTo>
                  <a:cubicBezTo>
                    <a:pt x="17206" y="2411"/>
                    <a:pt x="17593" y="1902"/>
                    <a:pt x="17593" y="1323"/>
                  </a:cubicBezTo>
                  <a:close/>
                  <a:moveTo>
                    <a:pt x="20919" y="1614"/>
                  </a:moveTo>
                  <a:cubicBezTo>
                    <a:pt x="20919" y="2339"/>
                    <a:pt x="20446" y="2411"/>
                    <a:pt x="20254" y="2411"/>
                  </a:cubicBezTo>
                  <a:cubicBezTo>
                    <a:pt x="20062" y="2411"/>
                    <a:pt x="19589" y="2339"/>
                    <a:pt x="19589" y="1614"/>
                  </a:cubicBezTo>
                  <a:cubicBezTo>
                    <a:pt x="19589" y="64"/>
                    <a:pt x="19589" y="64"/>
                    <a:pt x="19589" y="64"/>
                  </a:cubicBezTo>
                  <a:cubicBezTo>
                    <a:pt x="19333" y="64"/>
                    <a:pt x="19333" y="64"/>
                    <a:pt x="19333" y="64"/>
                  </a:cubicBezTo>
                  <a:cubicBezTo>
                    <a:pt x="19333" y="1643"/>
                    <a:pt x="19333" y="1643"/>
                    <a:pt x="19333" y="1643"/>
                  </a:cubicBezTo>
                  <a:cubicBezTo>
                    <a:pt x="19333" y="2062"/>
                    <a:pt x="19500" y="2645"/>
                    <a:pt x="20254" y="2645"/>
                  </a:cubicBezTo>
                  <a:cubicBezTo>
                    <a:pt x="21007" y="2645"/>
                    <a:pt x="21175" y="2062"/>
                    <a:pt x="21175" y="1643"/>
                  </a:cubicBezTo>
                  <a:cubicBezTo>
                    <a:pt x="21175" y="64"/>
                    <a:pt x="21175" y="64"/>
                    <a:pt x="21175" y="64"/>
                  </a:cubicBezTo>
                  <a:cubicBezTo>
                    <a:pt x="20919" y="64"/>
                    <a:pt x="20919" y="64"/>
                    <a:pt x="20919" y="64"/>
                  </a:cubicBezTo>
                  <a:lnTo>
                    <a:pt x="20919" y="1614"/>
                  </a:lnTo>
                  <a:close/>
                  <a:moveTo>
                    <a:pt x="24777" y="2197"/>
                  </a:moveTo>
                  <a:cubicBezTo>
                    <a:pt x="24770" y="2197"/>
                    <a:pt x="24770" y="2197"/>
                    <a:pt x="24770" y="2197"/>
                  </a:cubicBezTo>
                  <a:cubicBezTo>
                    <a:pt x="23270" y="64"/>
                    <a:pt x="23270" y="64"/>
                    <a:pt x="23270" y="64"/>
                  </a:cubicBezTo>
                  <a:cubicBezTo>
                    <a:pt x="22950" y="64"/>
                    <a:pt x="22950" y="64"/>
                    <a:pt x="22950" y="64"/>
                  </a:cubicBezTo>
                  <a:cubicBezTo>
                    <a:pt x="22950" y="2581"/>
                    <a:pt x="22950" y="2581"/>
                    <a:pt x="22950" y="2581"/>
                  </a:cubicBezTo>
                  <a:cubicBezTo>
                    <a:pt x="23206" y="2581"/>
                    <a:pt x="23206" y="2581"/>
                    <a:pt x="23206" y="2581"/>
                  </a:cubicBezTo>
                  <a:cubicBezTo>
                    <a:pt x="23206" y="427"/>
                    <a:pt x="23206" y="427"/>
                    <a:pt x="23206" y="427"/>
                  </a:cubicBezTo>
                  <a:cubicBezTo>
                    <a:pt x="23213" y="427"/>
                    <a:pt x="23213" y="427"/>
                    <a:pt x="23213" y="427"/>
                  </a:cubicBezTo>
                  <a:cubicBezTo>
                    <a:pt x="24713" y="2581"/>
                    <a:pt x="24713" y="2581"/>
                    <a:pt x="24713" y="2581"/>
                  </a:cubicBezTo>
                  <a:cubicBezTo>
                    <a:pt x="25033" y="2581"/>
                    <a:pt x="25033" y="2581"/>
                    <a:pt x="25033" y="2581"/>
                  </a:cubicBezTo>
                  <a:cubicBezTo>
                    <a:pt x="25033" y="64"/>
                    <a:pt x="25033" y="64"/>
                    <a:pt x="25033" y="64"/>
                  </a:cubicBezTo>
                  <a:cubicBezTo>
                    <a:pt x="24777" y="64"/>
                    <a:pt x="24777" y="64"/>
                    <a:pt x="24777" y="64"/>
                  </a:cubicBezTo>
                  <a:lnTo>
                    <a:pt x="24777" y="2197"/>
                  </a:lnTo>
                  <a:close/>
                  <a:moveTo>
                    <a:pt x="27993" y="2411"/>
                  </a:moveTo>
                  <a:cubicBezTo>
                    <a:pt x="27346" y="2411"/>
                    <a:pt x="26958" y="1902"/>
                    <a:pt x="26958" y="1323"/>
                  </a:cubicBezTo>
                  <a:cubicBezTo>
                    <a:pt x="26958" y="743"/>
                    <a:pt x="27346" y="235"/>
                    <a:pt x="27993" y="235"/>
                  </a:cubicBezTo>
                  <a:cubicBezTo>
                    <a:pt x="28259" y="235"/>
                    <a:pt x="28540" y="402"/>
                    <a:pt x="28640" y="566"/>
                  </a:cubicBezTo>
                  <a:cubicBezTo>
                    <a:pt x="28864" y="399"/>
                    <a:pt x="28864" y="399"/>
                    <a:pt x="28864" y="399"/>
                  </a:cubicBezTo>
                  <a:cubicBezTo>
                    <a:pt x="28643" y="118"/>
                    <a:pt x="28306" y="0"/>
                    <a:pt x="27993" y="0"/>
                  </a:cubicBezTo>
                  <a:cubicBezTo>
                    <a:pt x="27243" y="0"/>
                    <a:pt x="26681" y="558"/>
                    <a:pt x="26681" y="1323"/>
                  </a:cubicBezTo>
                  <a:cubicBezTo>
                    <a:pt x="26681" y="2087"/>
                    <a:pt x="27243" y="2645"/>
                    <a:pt x="27993" y="2645"/>
                  </a:cubicBezTo>
                  <a:cubicBezTo>
                    <a:pt x="28409" y="2645"/>
                    <a:pt x="28757" y="2443"/>
                    <a:pt x="28924" y="2183"/>
                  </a:cubicBezTo>
                  <a:cubicBezTo>
                    <a:pt x="28714" y="2034"/>
                    <a:pt x="28714" y="2034"/>
                    <a:pt x="28714" y="2034"/>
                  </a:cubicBezTo>
                  <a:cubicBezTo>
                    <a:pt x="28526" y="2325"/>
                    <a:pt x="28256" y="2411"/>
                    <a:pt x="27993" y="2411"/>
                  </a:cubicBezTo>
                  <a:close/>
                  <a:moveTo>
                    <a:pt x="30490" y="2581"/>
                  </a:moveTo>
                  <a:cubicBezTo>
                    <a:pt x="30746" y="2581"/>
                    <a:pt x="30746" y="2581"/>
                    <a:pt x="30746" y="2581"/>
                  </a:cubicBezTo>
                  <a:cubicBezTo>
                    <a:pt x="30746" y="64"/>
                    <a:pt x="30746" y="64"/>
                    <a:pt x="30746" y="64"/>
                  </a:cubicBezTo>
                  <a:cubicBezTo>
                    <a:pt x="30490" y="64"/>
                    <a:pt x="30490" y="64"/>
                    <a:pt x="30490" y="64"/>
                  </a:cubicBezTo>
                  <a:lnTo>
                    <a:pt x="30490" y="2581"/>
                  </a:lnTo>
                  <a:close/>
                  <a:moveTo>
                    <a:pt x="32821" y="2347"/>
                  </a:moveTo>
                  <a:cubicBezTo>
                    <a:pt x="32821" y="64"/>
                    <a:pt x="32821" y="64"/>
                    <a:pt x="32821" y="64"/>
                  </a:cubicBezTo>
                  <a:cubicBezTo>
                    <a:pt x="32565" y="64"/>
                    <a:pt x="32565" y="64"/>
                    <a:pt x="32565" y="64"/>
                  </a:cubicBezTo>
                  <a:cubicBezTo>
                    <a:pt x="32565" y="2581"/>
                    <a:pt x="32565" y="2581"/>
                    <a:pt x="32565" y="2581"/>
                  </a:cubicBezTo>
                  <a:cubicBezTo>
                    <a:pt x="33994" y="2581"/>
                    <a:pt x="33994" y="2581"/>
                    <a:pt x="33994" y="2581"/>
                  </a:cubicBezTo>
                  <a:cubicBezTo>
                    <a:pt x="33994" y="2347"/>
                    <a:pt x="33994" y="2347"/>
                    <a:pt x="33994" y="2347"/>
                  </a:cubicBezTo>
                  <a:lnTo>
                    <a:pt x="32821" y="23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6"/>
            <p:cNvSpPr>
              <a:spLocks noChangeAspect="1"/>
            </p:cNvSpPr>
            <p:nvPr/>
          </p:nvSpPr>
          <p:spPr bwMode="auto">
            <a:xfrm>
              <a:off x="2498725" y="141288"/>
              <a:ext cx="546100" cy="534988"/>
            </a:xfrm>
            <a:custGeom>
              <a:avLst/>
              <a:gdLst>
                <a:gd name="T0" fmla="*/ 209 w 344"/>
                <a:gd name="T1" fmla="*/ 0 h 337"/>
                <a:gd name="T2" fmla="*/ 0 w 344"/>
                <a:gd name="T3" fmla="*/ 0 h 337"/>
                <a:gd name="T4" fmla="*/ 0 w 344"/>
                <a:gd name="T5" fmla="*/ 337 h 337"/>
                <a:gd name="T6" fmla="*/ 344 w 344"/>
                <a:gd name="T7" fmla="*/ 337 h 337"/>
                <a:gd name="T8" fmla="*/ 344 w 344"/>
                <a:gd name="T9" fmla="*/ 133 h 337"/>
                <a:gd name="T10" fmla="*/ 209 w 344"/>
                <a:gd name="T11" fmla="*/ 133 h 337"/>
                <a:gd name="T12" fmla="*/ 209 w 344"/>
                <a:gd name="T13" fmla="*/ 0 h 337"/>
                <a:gd name="T14" fmla="*/ 209 w 344"/>
                <a:gd name="T15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37">
                  <a:moveTo>
                    <a:pt x="209" y="0"/>
                  </a:moveTo>
                  <a:lnTo>
                    <a:pt x="0" y="0"/>
                  </a:lnTo>
                  <a:lnTo>
                    <a:pt x="0" y="337"/>
                  </a:lnTo>
                  <a:lnTo>
                    <a:pt x="344" y="337"/>
                  </a:lnTo>
                  <a:lnTo>
                    <a:pt x="344" y="133"/>
                  </a:lnTo>
                  <a:lnTo>
                    <a:pt x="209" y="133"/>
                  </a:lnTo>
                  <a:lnTo>
                    <a:pt x="209" y="0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F89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7"/>
            <p:cNvSpPr>
              <a:spLocks noChangeAspect="1"/>
            </p:cNvSpPr>
            <p:nvPr/>
          </p:nvSpPr>
          <p:spPr bwMode="auto">
            <a:xfrm>
              <a:off x="2830513" y="0"/>
              <a:ext cx="350838" cy="352425"/>
            </a:xfrm>
            <a:custGeom>
              <a:avLst/>
              <a:gdLst>
                <a:gd name="T0" fmla="*/ 221 w 221"/>
                <a:gd name="T1" fmla="*/ 0 h 222"/>
                <a:gd name="T2" fmla="*/ 0 w 221"/>
                <a:gd name="T3" fmla="*/ 0 h 222"/>
                <a:gd name="T4" fmla="*/ 0 w 221"/>
                <a:gd name="T5" fmla="*/ 89 h 222"/>
                <a:gd name="T6" fmla="*/ 135 w 221"/>
                <a:gd name="T7" fmla="*/ 89 h 222"/>
                <a:gd name="T8" fmla="*/ 135 w 221"/>
                <a:gd name="T9" fmla="*/ 222 h 222"/>
                <a:gd name="T10" fmla="*/ 221 w 221"/>
                <a:gd name="T11" fmla="*/ 222 h 222"/>
                <a:gd name="T12" fmla="*/ 221 w 221"/>
                <a:gd name="T13" fmla="*/ 0 h 222"/>
                <a:gd name="T14" fmla="*/ 221 w 221"/>
                <a:gd name="T15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22">
                  <a:moveTo>
                    <a:pt x="221" y="0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89"/>
                  </a:lnTo>
                  <a:lnTo>
                    <a:pt x="135" y="222"/>
                  </a:lnTo>
                  <a:lnTo>
                    <a:pt x="221" y="222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16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5" name="Rectangle 24"/>
          <p:cNvSpPr/>
          <p:nvPr userDrawn="1"/>
        </p:nvSpPr>
        <p:spPr>
          <a:xfrm>
            <a:off x="0" y="5092700"/>
            <a:ext cx="9144000" cy="617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366298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8" r:id="rId1"/>
    <p:sldLayoutId id="2147483870" r:id="rId2"/>
    <p:sldLayoutId id="2147483871" r:id="rId3"/>
    <p:sldLayoutId id="2147484009" r:id="rId4"/>
    <p:sldLayoutId id="2147483873" r:id="rId5"/>
    <p:sldLayoutId id="2147483874" r:id="rId6"/>
    <p:sldLayoutId id="2147483875" r:id="rId7"/>
    <p:sldLayoutId id="2147483876" r:id="rId8"/>
    <p:sldLayoutId id="2147483877" r:id="rId9"/>
    <p:sldLayoutId id="2147483878" r:id="rId10"/>
    <p:sldLayoutId id="2147483879" r:id="rId11"/>
    <p:sldLayoutId id="2147483880" r:id="rId12"/>
    <p:sldLayoutId id="2147483882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708" rtl="0" eaLnBrk="1" latinLnBrk="0" hangingPunct="1">
        <a:lnSpc>
          <a:spcPct val="80000"/>
        </a:lnSpc>
        <a:spcBef>
          <a:spcPct val="0"/>
        </a:spcBef>
        <a:buNone/>
        <a:defRPr sz="28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913708" rtl="0" eaLnBrk="1" latinLnBrk="0" hangingPunct="1">
        <a:spcBef>
          <a:spcPct val="20000"/>
        </a:spcBef>
        <a:buClr>
          <a:schemeClr val="accent1"/>
        </a:buClr>
        <a:buSzPct val="80000"/>
        <a:buFont typeface="Wingdings 3" panose="05040102010807070707" pitchFamily="18" charset="2"/>
        <a:buChar char="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370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63" indent="-176213" algn="l" defTabSz="91370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53988" algn="l" defTabSz="91370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125413" algn="l" defTabSz="91370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691" indent="-228434" algn="l" defTabSz="913708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546" indent="-228434" algn="l" defTabSz="913708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398" indent="-228434" algn="l" defTabSz="913708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253" indent="-228434" algn="l" defTabSz="913708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4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08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62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13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62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23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972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22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1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436960" y="4879547"/>
            <a:ext cx="3068239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75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708" fontAlgn="auto">
              <a:spcBef>
                <a:spcPts val="0"/>
              </a:spcBef>
              <a:spcAft>
                <a:spcPts val="0"/>
              </a:spcAft>
            </a:pPr>
            <a:r>
              <a:rPr lang="en-US" sz="600">
                <a:solidFill>
                  <a:srgbClr val="7E848B"/>
                </a:solidFill>
              </a:rPr>
              <a:t>© 2016 </a:t>
            </a:r>
            <a:r>
              <a:rPr lang="en-US" sz="600" dirty="0">
                <a:solidFill>
                  <a:srgbClr val="7E848B"/>
                </a:solidFill>
              </a:rPr>
              <a:t>Technology Business Management Council, All rights reserved (v2.5)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-1192" y="4879547"/>
            <a:ext cx="33909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8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708" fontAlgn="auto">
              <a:spcBef>
                <a:spcPts val="0"/>
              </a:spcBef>
              <a:spcAft>
                <a:spcPts val="0"/>
              </a:spcAft>
            </a:pPr>
            <a:fld id="{4C1362D4-5ABD-4326-94E6-7A5ADE3C9964}" type="slidenum">
              <a:rPr lang="en-US" sz="700" smtClean="0">
                <a:solidFill>
                  <a:srgbClr val="0D96C9"/>
                </a:solidFill>
              </a:rPr>
              <a:pPr defTabSz="913708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>
              <a:solidFill>
                <a:srgbClr val="0D96C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1" y="914401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7721600" y="4855433"/>
            <a:ext cx="1143001" cy="186415"/>
            <a:chOff x="2498725" y="0"/>
            <a:chExt cx="4146551" cy="676276"/>
          </a:xfrm>
        </p:grpSpPr>
        <p:sp>
          <p:nvSpPr>
            <p:cNvPr id="17" name="Freeform 5"/>
            <p:cNvSpPr>
              <a:spLocks noChangeAspect="1" noEditPoints="1"/>
            </p:cNvSpPr>
            <p:nvPr/>
          </p:nvSpPr>
          <p:spPr bwMode="auto">
            <a:xfrm>
              <a:off x="3443288" y="239713"/>
              <a:ext cx="3201988" cy="249238"/>
            </a:xfrm>
            <a:custGeom>
              <a:avLst/>
              <a:gdLst>
                <a:gd name="T0" fmla="*/ 1991 w 33994"/>
                <a:gd name="T1" fmla="*/ 64 h 2645"/>
                <a:gd name="T2" fmla="*/ 1273 w 33994"/>
                <a:gd name="T3" fmla="*/ 555 h 2645"/>
                <a:gd name="T4" fmla="*/ 718 w 33994"/>
                <a:gd name="T5" fmla="*/ 2581 h 2645"/>
                <a:gd name="T6" fmla="*/ 0 w 33994"/>
                <a:gd name="T7" fmla="*/ 555 h 2645"/>
                <a:gd name="T8" fmla="*/ 5171 w 33994"/>
                <a:gd name="T9" fmla="*/ 1881 h 2645"/>
                <a:gd name="T10" fmla="*/ 3195 w 33994"/>
                <a:gd name="T11" fmla="*/ 2581 h 2645"/>
                <a:gd name="T12" fmla="*/ 4133 w 33994"/>
                <a:gd name="T13" fmla="*/ 64 h 2645"/>
                <a:gd name="T14" fmla="*/ 4620 w 33994"/>
                <a:gd name="T15" fmla="*/ 1259 h 2645"/>
                <a:gd name="T16" fmla="*/ 5171 w 33994"/>
                <a:gd name="T17" fmla="*/ 1881 h 2645"/>
                <a:gd name="T18" fmla="*/ 4151 w 33994"/>
                <a:gd name="T19" fmla="*/ 1070 h 2645"/>
                <a:gd name="T20" fmla="*/ 4126 w 33994"/>
                <a:gd name="T21" fmla="*/ 534 h 2645"/>
                <a:gd name="T22" fmla="*/ 3749 w 33994"/>
                <a:gd name="T23" fmla="*/ 1070 h 2645"/>
                <a:gd name="T24" fmla="*/ 4169 w 33994"/>
                <a:gd name="T25" fmla="*/ 1540 h 2645"/>
                <a:gd name="T26" fmla="*/ 3749 w 33994"/>
                <a:gd name="T27" fmla="*/ 2112 h 2645"/>
                <a:gd name="T28" fmla="*/ 4617 w 33994"/>
                <a:gd name="T29" fmla="*/ 1817 h 2645"/>
                <a:gd name="T30" fmla="*/ 7697 w 33994"/>
                <a:gd name="T31" fmla="*/ 1707 h 2645"/>
                <a:gd name="T32" fmla="*/ 6279 w 33994"/>
                <a:gd name="T33" fmla="*/ 64 h 2645"/>
                <a:gd name="T34" fmla="*/ 6833 w 33994"/>
                <a:gd name="T35" fmla="*/ 2581 h 2645"/>
                <a:gd name="T36" fmla="*/ 6840 w 33994"/>
                <a:gd name="T37" fmla="*/ 651 h 2645"/>
                <a:gd name="T38" fmla="*/ 7900 w 33994"/>
                <a:gd name="T39" fmla="*/ 2581 h 2645"/>
                <a:gd name="T40" fmla="*/ 8568 w 33994"/>
                <a:gd name="T41" fmla="*/ 651 h 2645"/>
                <a:gd name="T42" fmla="*/ 9123 w 33994"/>
                <a:gd name="T43" fmla="*/ 2581 h 2645"/>
                <a:gd name="T44" fmla="*/ 8287 w 33994"/>
                <a:gd name="T45" fmla="*/ 64 h 2645"/>
                <a:gd name="T46" fmla="*/ 13062 w 33994"/>
                <a:gd name="T47" fmla="*/ 2411 h 2645"/>
                <a:gd name="T48" fmla="*/ 13062 w 33994"/>
                <a:gd name="T49" fmla="*/ 235 h 2645"/>
                <a:gd name="T50" fmla="*/ 13933 w 33994"/>
                <a:gd name="T51" fmla="*/ 399 h 2645"/>
                <a:gd name="T52" fmla="*/ 11751 w 33994"/>
                <a:gd name="T53" fmla="*/ 1323 h 2645"/>
                <a:gd name="T54" fmla="*/ 13994 w 33994"/>
                <a:gd name="T55" fmla="*/ 2183 h 2645"/>
                <a:gd name="T56" fmla="*/ 13062 w 33994"/>
                <a:gd name="T57" fmla="*/ 2411 h 2645"/>
                <a:gd name="T58" fmla="*/ 16559 w 33994"/>
                <a:gd name="T59" fmla="*/ 2645 h 2645"/>
                <a:gd name="T60" fmla="*/ 16559 w 33994"/>
                <a:gd name="T61" fmla="*/ 0 h 2645"/>
                <a:gd name="T62" fmla="*/ 17593 w 33994"/>
                <a:gd name="T63" fmla="*/ 1323 h 2645"/>
                <a:gd name="T64" fmla="*/ 15524 w 33994"/>
                <a:gd name="T65" fmla="*/ 1323 h 2645"/>
                <a:gd name="T66" fmla="*/ 17593 w 33994"/>
                <a:gd name="T67" fmla="*/ 1323 h 2645"/>
                <a:gd name="T68" fmla="*/ 20254 w 33994"/>
                <a:gd name="T69" fmla="*/ 2411 h 2645"/>
                <a:gd name="T70" fmla="*/ 19589 w 33994"/>
                <a:gd name="T71" fmla="*/ 64 h 2645"/>
                <a:gd name="T72" fmla="*/ 19333 w 33994"/>
                <a:gd name="T73" fmla="*/ 1643 h 2645"/>
                <a:gd name="T74" fmla="*/ 21175 w 33994"/>
                <a:gd name="T75" fmla="*/ 1643 h 2645"/>
                <a:gd name="T76" fmla="*/ 20919 w 33994"/>
                <a:gd name="T77" fmla="*/ 64 h 2645"/>
                <a:gd name="T78" fmla="*/ 24777 w 33994"/>
                <a:gd name="T79" fmla="*/ 2197 h 2645"/>
                <a:gd name="T80" fmla="*/ 23270 w 33994"/>
                <a:gd name="T81" fmla="*/ 64 h 2645"/>
                <a:gd name="T82" fmla="*/ 22950 w 33994"/>
                <a:gd name="T83" fmla="*/ 2581 h 2645"/>
                <a:gd name="T84" fmla="*/ 23206 w 33994"/>
                <a:gd name="T85" fmla="*/ 427 h 2645"/>
                <a:gd name="T86" fmla="*/ 24713 w 33994"/>
                <a:gd name="T87" fmla="*/ 2581 h 2645"/>
                <a:gd name="T88" fmla="*/ 25033 w 33994"/>
                <a:gd name="T89" fmla="*/ 64 h 2645"/>
                <a:gd name="T90" fmla="*/ 24777 w 33994"/>
                <a:gd name="T91" fmla="*/ 2197 h 2645"/>
                <a:gd name="T92" fmla="*/ 26958 w 33994"/>
                <a:gd name="T93" fmla="*/ 1323 h 2645"/>
                <a:gd name="T94" fmla="*/ 28640 w 33994"/>
                <a:gd name="T95" fmla="*/ 566 h 2645"/>
                <a:gd name="T96" fmla="*/ 27993 w 33994"/>
                <a:gd name="T97" fmla="*/ 0 h 2645"/>
                <a:gd name="T98" fmla="*/ 27993 w 33994"/>
                <a:gd name="T99" fmla="*/ 2645 h 2645"/>
                <a:gd name="T100" fmla="*/ 28714 w 33994"/>
                <a:gd name="T101" fmla="*/ 2034 h 2645"/>
                <a:gd name="T102" fmla="*/ 30490 w 33994"/>
                <a:gd name="T103" fmla="*/ 2581 h 2645"/>
                <a:gd name="T104" fmla="*/ 30746 w 33994"/>
                <a:gd name="T105" fmla="*/ 64 h 2645"/>
                <a:gd name="T106" fmla="*/ 30490 w 33994"/>
                <a:gd name="T107" fmla="*/ 2581 h 2645"/>
                <a:gd name="T108" fmla="*/ 32821 w 33994"/>
                <a:gd name="T109" fmla="*/ 64 h 2645"/>
                <a:gd name="T110" fmla="*/ 32565 w 33994"/>
                <a:gd name="T111" fmla="*/ 2581 h 2645"/>
                <a:gd name="T112" fmla="*/ 33994 w 33994"/>
                <a:gd name="T113" fmla="*/ 2347 h 2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994" h="2645">
                  <a:moveTo>
                    <a:pt x="0" y="64"/>
                  </a:moveTo>
                  <a:cubicBezTo>
                    <a:pt x="1991" y="64"/>
                    <a:pt x="1991" y="64"/>
                    <a:pt x="1991" y="64"/>
                  </a:cubicBezTo>
                  <a:cubicBezTo>
                    <a:pt x="1991" y="555"/>
                    <a:pt x="1991" y="555"/>
                    <a:pt x="1991" y="555"/>
                  </a:cubicBezTo>
                  <a:cubicBezTo>
                    <a:pt x="1273" y="555"/>
                    <a:pt x="1273" y="555"/>
                    <a:pt x="1273" y="555"/>
                  </a:cubicBezTo>
                  <a:cubicBezTo>
                    <a:pt x="1273" y="2581"/>
                    <a:pt x="1273" y="2581"/>
                    <a:pt x="1273" y="2581"/>
                  </a:cubicBezTo>
                  <a:cubicBezTo>
                    <a:pt x="718" y="2581"/>
                    <a:pt x="718" y="2581"/>
                    <a:pt x="718" y="2581"/>
                  </a:cubicBezTo>
                  <a:cubicBezTo>
                    <a:pt x="718" y="555"/>
                    <a:pt x="718" y="555"/>
                    <a:pt x="718" y="555"/>
                  </a:cubicBezTo>
                  <a:cubicBezTo>
                    <a:pt x="0" y="555"/>
                    <a:pt x="0" y="555"/>
                    <a:pt x="0" y="555"/>
                  </a:cubicBezTo>
                  <a:lnTo>
                    <a:pt x="0" y="64"/>
                  </a:lnTo>
                  <a:close/>
                  <a:moveTo>
                    <a:pt x="5171" y="1881"/>
                  </a:moveTo>
                  <a:cubicBezTo>
                    <a:pt x="5171" y="2407"/>
                    <a:pt x="4673" y="2581"/>
                    <a:pt x="4225" y="2581"/>
                  </a:cubicBezTo>
                  <a:cubicBezTo>
                    <a:pt x="3195" y="2581"/>
                    <a:pt x="3195" y="2581"/>
                    <a:pt x="3195" y="2581"/>
                  </a:cubicBezTo>
                  <a:cubicBezTo>
                    <a:pt x="3195" y="64"/>
                    <a:pt x="3195" y="64"/>
                    <a:pt x="3195" y="64"/>
                  </a:cubicBezTo>
                  <a:cubicBezTo>
                    <a:pt x="4133" y="64"/>
                    <a:pt x="4133" y="64"/>
                    <a:pt x="4133" y="64"/>
                  </a:cubicBezTo>
                  <a:cubicBezTo>
                    <a:pt x="4574" y="64"/>
                    <a:pt x="5054" y="157"/>
                    <a:pt x="5054" y="704"/>
                  </a:cubicBezTo>
                  <a:cubicBezTo>
                    <a:pt x="5054" y="985"/>
                    <a:pt x="4880" y="1177"/>
                    <a:pt x="4620" y="1259"/>
                  </a:cubicBezTo>
                  <a:cubicBezTo>
                    <a:pt x="4620" y="1266"/>
                    <a:pt x="4620" y="1266"/>
                    <a:pt x="4620" y="1266"/>
                  </a:cubicBezTo>
                  <a:cubicBezTo>
                    <a:pt x="4951" y="1309"/>
                    <a:pt x="5171" y="1554"/>
                    <a:pt x="5171" y="1881"/>
                  </a:cubicBezTo>
                  <a:close/>
                  <a:moveTo>
                    <a:pt x="3749" y="1070"/>
                  </a:moveTo>
                  <a:cubicBezTo>
                    <a:pt x="4151" y="1070"/>
                    <a:pt x="4151" y="1070"/>
                    <a:pt x="4151" y="1070"/>
                  </a:cubicBezTo>
                  <a:cubicBezTo>
                    <a:pt x="4321" y="1070"/>
                    <a:pt x="4499" y="999"/>
                    <a:pt x="4499" y="797"/>
                  </a:cubicBezTo>
                  <a:cubicBezTo>
                    <a:pt x="4499" y="587"/>
                    <a:pt x="4300" y="534"/>
                    <a:pt x="4126" y="534"/>
                  </a:cubicBezTo>
                  <a:cubicBezTo>
                    <a:pt x="3749" y="534"/>
                    <a:pt x="3749" y="534"/>
                    <a:pt x="3749" y="534"/>
                  </a:cubicBezTo>
                  <a:lnTo>
                    <a:pt x="3749" y="1070"/>
                  </a:lnTo>
                  <a:close/>
                  <a:moveTo>
                    <a:pt x="4617" y="1817"/>
                  </a:moveTo>
                  <a:cubicBezTo>
                    <a:pt x="4617" y="1579"/>
                    <a:pt x="4350" y="1540"/>
                    <a:pt x="4169" y="1540"/>
                  </a:cubicBezTo>
                  <a:cubicBezTo>
                    <a:pt x="3749" y="1540"/>
                    <a:pt x="3749" y="1540"/>
                    <a:pt x="3749" y="1540"/>
                  </a:cubicBezTo>
                  <a:cubicBezTo>
                    <a:pt x="3749" y="2112"/>
                    <a:pt x="3749" y="2112"/>
                    <a:pt x="3749" y="2112"/>
                  </a:cubicBezTo>
                  <a:cubicBezTo>
                    <a:pt x="4247" y="2112"/>
                    <a:pt x="4247" y="2112"/>
                    <a:pt x="4247" y="2112"/>
                  </a:cubicBezTo>
                  <a:cubicBezTo>
                    <a:pt x="4421" y="2112"/>
                    <a:pt x="4617" y="2037"/>
                    <a:pt x="4617" y="1817"/>
                  </a:cubicBezTo>
                  <a:close/>
                  <a:moveTo>
                    <a:pt x="7704" y="1707"/>
                  </a:moveTo>
                  <a:cubicBezTo>
                    <a:pt x="7697" y="1707"/>
                    <a:pt x="7697" y="1707"/>
                    <a:pt x="7697" y="1707"/>
                  </a:cubicBezTo>
                  <a:cubicBezTo>
                    <a:pt x="7118" y="64"/>
                    <a:pt x="7118" y="64"/>
                    <a:pt x="7118" y="64"/>
                  </a:cubicBezTo>
                  <a:cubicBezTo>
                    <a:pt x="6279" y="64"/>
                    <a:pt x="6279" y="64"/>
                    <a:pt x="6279" y="64"/>
                  </a:cubicBezTo>
                  <a:cubicBezTo>
                    <a:pt x="6279" y="2581"/>
                    <a:pt x="6279" y="2581"/>
                    <a:pt x="6279" y="2581"/>
                  </a:cubicBezTo>
                  <a:cubicBezTo>
                    <a:pt x="6833" y="2581"/>
                    <a:pt x="6833" y="2581"/>
                    <a:pt x="6833" y="2581"/>
                  </a:cubicBezTo>
                  <a:cubicBezTo>
                    <a:pt x="6833" y="651"/>
                    <a:pt x="6833" y="651"/>
                    <a:pt x="6833" y="651"/>
                  </a:cubicBezTo>
                  <a:cubicBezTo>
                    <a:pt x="6840" y="651"/>
                    <a:pt x="6840" y="651"/>
                    <a:pt x="6840" y="651"/>
                  </a:cubicBezTo>
                  <a:cubicBezTo>
                    <a:pt x="7477" y="2581"/>
                    <a:pt x="7477" y="2581"/>
                    <a:pt x="7477" y="2581"/>
                  </a:cubicBezTo>
                  <a:cubicBezTo>
                    <a:pt x="7900" y="2581"/>
                    <a:pt x="7900" y="2581"/>
                    <a:pt x="7900" y="2581"/>
                  </a:cubicBezTo>
                  <a:cubicBezTo>
                    <a:pt x="8561" y="651"/>
                    <a:pt x="8561" y="651"/>
                    <a:pt x="8561" y="651"/>
                  </a:cubicBezTo>
                  <a:cubicBezTo>
                    <a:pt x="8568" y="651"/>
                    <a:pt x="8568" y="651"/>
                    <a:pt x="8568" y="651"/>
                  </a:cubicBezTo>
                  <a:cubicBezTo>
                    <a:pt x="8568" y="2581"/>
                    <a:pt x="8568" y="2581"/>
                    <a:pt x="8568" y="2581"/>
                  </a:cubicBezTo>
                  <a:cubicBezTo>
                    <a:pt x="9123" y="2581"/>
                    <a:pt x="9123" y="2581"/>
                    <a:pt x="9123" y="2581"/>
                  </a:cubicBezTo>
                  <a:cubicBezTo>
                    <a:pt x="9123" y="64"/>
                    <a:pt x="9123" y="64"/>
                    <a:pt x="9123" y="64"/>
                  </a:cubicBezTo>
                  <a:cubicBezTo>
                    <a:pt x="8287" y="64"/>
                    <a:pt x="8287" y="64"/>
                    <a:pt x="8287" y="64"/>
                  </a:cubicBezTo>
                  <a:lnTo>
                    <a:pt x="7704" y="1707"/>
                  </a:lnTo>
                  <a:close/>
                  <a:moveTo>
                    <a:pt x="13062" y="2411"/>
                  </a:moveTo>
                  <a:cubicBezTo>
                    <a:pt x="12415" y="2411"/>
                    <a:pt x="12028" y="1902"/>
                    <a:pt x="12028" y="1323"/>
                  </a:cubicBezTo>
                  <a:cubicBezTo>
                    <a:pt x="12028" y="743"/>
                    <a:pt x="12415" y="235"/>
                    <a:pt x="13062" y="235"/>
                  </a:cubicBezTo>
                  <a:cubicBezTo>
                    <a:pt x="13329" y="235"/>
                    <a:pt x="13610" y="402"/>
                    <a:pt x="13709" y="566"/>
                  </a:cubicBezTo>
                  <a:cubicBezTo>
                    <a:pt x="13933" y="399"/>
                    <a:pt x="13933" y="399"/>
                    <a:pt x="13933" y="399"/>
                  </a:cubicBezTo>
                  <a:cubicBezTo>
                    <a:pt x="13713" y="118"/>
                    <a:pt x="13375" y="0"/>
                    <a:pt x="13062" y="0"/>
                  </a:cubicBezTo>
                  <a:cubicBezTo>
                    <a:pt x="12312" y="0"/>
                    <a:pt x="11751" y="558"/>
                    <a:pt x="11751" y="1323"/>
                  </a:cubicBezTo>
                  <a:cubicBezTo>
                    <a:pt x="11751" y="2087"/>
                    <a:pt x="12312" y="2645"/>
                    <a:pt x="13062" y="2645"/>
                  </a:cubicBezTo>
                  <a:cubicBezTo>
                    <a:pt x="13478" y="2645"/>
                    <a:pt x="13827" y="2443"/>
                    <a:pt x="13994" y="2183"/>
                  </a:cubicBezTo>
                  <a:cubicBezTo>
                    <a:pt x="13784" y="2034"/>
                    <a:pt x="13784" y="2034"/>
                    <a:pt x="13784" y="2034"/>
                  </a:cubicBezTo>
                  <a:cubicBezTo>
                    <a:pt x="13595" y="2325"/>
                    <a:pt x="13325" y="2411"/>
                    <a:pt x="13062" y="2411"/>
                  </a:cubicBezTo>
                  <a:close/>
                  <a:moveTo>
                    <a:pt x="17870" y="1323"/>
                  </a:moveTo>
                  <a:cubicBezTo>
                    <a:pt x="17870" y="2087"/>
                    <a:pt x="17309" y="2645"/>
                    <a:pt x="16559" y="2645"/>
                  </a:cubicBezTo>
                  <a:cubicBezTo>
                    <a:pt x="15809" y="2645"/>
                    <a:pt x="15247" y="2087"/>
                    <a:pt x="15247" y="1323"/>
                  </a:cubicBezTo>
                  <a:cubicBezTo>
                    <a:pt x="15247" y="558"/>
                    <a:pt x="15809" y="0"/>
                    <a:pt x="16559" y="0"/>
                  </a:cubicBezTo>
                  <a:cubicBezTo>
                    <a:pt x="17309" y="0"/>
                    <a:pt x="17870" y="558"/>
                    <a:pt x="17870" y="1323"/>
                  </a:cubicBezTo>
                  <a:close/>
                  <a:moveTo>
                    <a:pt x="17593" y="1323"/>
                  </a:moveTo>
                  <a:cubicBezTo>
                    <a:pt x="17593" y="743"/>
                    <a:pt x="17206" y="235"/>
                    <a:pt x="16559" y="235"/>
                  </a:cubicBezTo>
                  <a:cubicBezTo>
                    <a:pt x="15912" y="235"/>
                    <a:pt x="15524" y="743"/>
                    <a:pt x="15524" y="1323"/>
                  </a:cubicBezTo>
                  <a:cubicBezTo>
                    <a:pt x="15524" y="1902"/>
                    <a:pt x="15912" y="2411"/>
                    <a:pt x="16559" y="2411"/>
                  </a:cubicBezTo>
                  <a:cubicBezTo>
                    <a:pt x="17206" y="2411"/>
                    <a:pt x="17593" y="1902"/>
                    <a:pt x="17593" y="1323"/>
                  </a:cubicBezTo>
                  <a:close/>
                  <a:moveTo>
                    <a:pt x="20919" y="1614"/>
                  </a:moveTo>
                  <a:cubicBezTo>
                    <a:pt x="20919" y="2339"/>
                    <a:pt x="20446" y="2411"/>
                    <a:pt x="20254" y="2411"/>
                  </a:cubicBezTo>
                  <a:cubicBezTo>
                    <a:pt x="20062" y="2411"/>
                    <a:pt x="19589" y="2339"/>
                    <a:pt x="19589" y="1614"/>
                  </a:cubicBezTo>
                  <a:cubicBezTo>
                    <a:pt x="19589" y="64"/>
                    <a:pt x="19589" y="64"/>
                    <a:pt x="19589" y="64"/>
                  </a:cubicBezTo>
                  <a:cubicBezTo>
                    <a:pt x="19333" y="64"/>
                    <a:pt x="19333" y="64"/>
                    <a:pt x="19333" y="64"/>
                  </a:cubicBezTo>
                  <a:cubicBezTo>
                    <a:pt x="19333" y="1643"/>
                    <a:pt x="19333" y="1643"/>
                    <a:pt x="19333" y="1643"/>
                  </a:cubicBezTo>
                  <a:cubicBezTo>
                    <a:pt x="19333" y="2062"/>
                    <a:pt x="19500" y="2645"/>
                    <a:pt x="20254" y="2645"/>
                  </a:cubicBezTo>
                  <a:cubicBezTo>
                    <a:pt x="21007" y="2645"/>
                    <a:pt x="21175" y="2062"/>
                    <a:pt x="21175" y="1643"/>
                  </a:cubicBezTo>
                  <a:cubicBezTo>
                    <a:pt x="21175" y="64"/>
                    <a:pt x="21175" y="64"/>
                    <a:pt x="21175" y="64"/>
                  </a:cubicBezTo>
                  <a:cubicBezTo>
                    <a:pt x="20919" y="64"/>
                    <a:pt x="20919" y="64"/>
                    <a:pt x="20919" y="64"/>
                  </a:cubicBezTo>
                  <a:lnTo>
                    <a:pt x="20919" y="1614"/>
                  </a:lnTo>
                  <a:close/>
                  <a:moveTo>
                    <a:pt x="24777" y="2197"/>
                  </a:moveTo>
                  <a:cubicBezTo>
                    <a:pt x="24770" y="2197"/>
                    <a:pt x="24770" y="2197"/>
                    <a:pt x="24770" y="2197"/>
                  </a:cubicBezTo>
                  <a:cubicBezTo>
                    <a:pt x="23270" y="64"/>
                    <a:pt x="23270" y="64"/>
                    <a:pt x="23270" y="64"/>
                  </a:cubicBezTo>
                  <a:cubicBezTo>
                    <a:pt x="22950" y="64"/>
                    <a:pt x="22950" y="64"/>
                    <a:pt x="22950" y="64"/>
                  </a:cubicBezTo>
                  <a:cubicBezTo>
                    <a:pt x="22950" y="2581"/>
                    <a:pt x="22950" y="2581"/>
                    <a:pt x="22950" y="2581"/>
                  </a:cubicBezTo>
                  <a:cubicBezTo>
                    <a:pt x="23206" y="2581"/>
                    <a:pt x="23206" y="2581"/>
                    <a:pt x="23206" y="2581"/>
                  </a:cubicBezTo>
                  <a:cubicBezTo>
                    <a:pt x="23206" y="427"/>
                    <a:pt x="23206" y="427"/>
                    <a:pt x="23206" y="427"/>
                  </a:cubicBezTo>
                  <a:cubicBezTo>
                    <a:pt x="23213" y="427"/>
                    <a:pt x="23213" y="427"/>
                    <a:pt x="23213" y="427"/>
                  </a:cubicBezTo>
                  <a:cubicBezTo>
                    <a:pt x="24713" y="2581"/>
                    <a:pt x="24713" y="2581"/>
                    <a:pt x="24713" y="2581"/>
                  </a:cubicBezTo>
                  <a:cubicBezTo>
                    <a:pt x="25033" y="2581"/>
                    <a:pt x="25033" y="2581"/>
                    <a:pt x="25033" y="2581"/>
                  </a:cubicBezTo>
                  <a:cubicBezTo>
                    <a:pt x="25033" y="64"/>
                    <a:pt x="25033" y="64"/>
                    <a:pt x="25033" y="64"/>
                  </a:cubicBezTo>
                  <a:cubicBezTo>
                    <a:pt x="24777" y="64"/>
                    <a:pt x="24777" y="64"/>
                    <a:pt x="24777" y="64"/>
                  </a:cubicBezTo>
                  <a:lnTo>
                    <a:pt x="24777" y="2197"/>
                  </a:lnTo>
                  <a:close/>
                  <a:moveTo>
                    <a:pt x="27993" y="2411"/>
                  </a:moveTo>
                  <a:cubicBezTo>
                    <a:pt x="27346" y="2411"/>
                    <a:pt x="26958" y="1902"/>
                    <a:pt x="26958" y="1323"/>
                  </a:cubicBezTo>
                  <a:cubicBezTo>
                    <a:pt x="26958" y="743"/>
                    <a:pt x="27346" y="235"/>
                    <a:pt x="27993" y="235"/>
                  </a:cubicBezTo>
                  <a:cubicBezTo>
                    <a:pt x="28259" y="235"/>
                    <a:pt x="28540" y="402"/>
                    <a:pt x="28640" y="566"/>
                  </a:cubicBezTo>
                  <a:cubicBezTo>
                    <a:pt x="28864" y="399"/>
                    <a:pt x="28864" y="399"/>
                    <a:pt x="28864" y="399"/>
                  </a:cubicBezTo>
                  <a:cubicBezTo>
                    <a:pt x="28643" y="118"/>
                    <a:pt x="28306" y="0"/>
                    <a:pt x="27993" y="0"/>
                  </a:cubicBezTo>
                  <a:cubicBezTo>
                    <a:pt x="27243" y="0"/>
                    <a:pt x="26681" y="558"/>
                    <a:pt x="26681" y="1323"/>
                  </a:cubicBezTo>
                  <a:cubicBezTo>
                    <a:pt x="26681" y="2087"/>
                    <a:pt x="27243" y="2645"/>
                    <a:pt x="27993" y="2645"/>
                  </a:cubicBezTo>
                  <a:cubicBezTo>
                    <a:pt x="28409" y="2645"/>
                    <a:pt x="28757" y="2443"/>
                    <a:pt x="28924" y="2183"/>
                  </a:cubicBezTo>
                  <a:cubicBezTo>
                    <a:pt x="28714" y="2034"/>
                    <a:pt x="28714" y="2034"/>
                    <a:pt x="28714" y="2034"/>
                  </a:cubicBezTo>
                  <a:cubicBezTo>
                    <a:pt x="28526" y="2325"/>
                    <a:pt x="28256" y="2411"/>
                    <a:pt x="27993" y="2411"/>
                  </a:cubicBezTo>
                  <a:close/>
                  <a:moveTo>
                    <a:pt x="30490" y="2581"/>
                  </a:moveTo>
                  <a:cubicBezTo>
                    <a:pt x="30746" y="2581"/>
                    <a:pt x="30746" y="2581"/>
                    <a:pt x="30746" y="2581"/>
                  </a:cubicBezTo>
                  <a:cubicBezTo>
                    <a:pt x="30746" y="64"/>
                    <a:pt x="30746" y="64"/>
                    <a:pt x="30746" y="64"/>
                  </a:cubicBezTo>
                  <a:cubicBezTo>
                    <a:pt x="30490" y="64"/>
                    <a:pt x="30490" y="64"/>
                    <a:pt x="30490" y="64"/>
                  </a:cubicBezTo>
                  <a:lnTo>
                    <a:pt x="30490" y="2581"/>
                  </a:lnTo>
                  <a:close/>
                  <a:moveTo>
                    <a:pt x="32821" y="2347"/>
                  </a:moveTo>
                  <a:cubicBezTo>
                    <a:pt x="32821" y="64"/>
                    <a:pt x="32821" y="64"/>
                    <a:pt x="32821" y="64"/>
                  </a:cubicBezTo>
                  <a:cubicBezTo>
                    <a:pt x="32565" y="64"/>
                    <a:pt x="32565" y="64"/>
                    <a:pt x="32565" y="64"/>
                  </a:cubicBezTo>
                  <a:cubicBezTo>
                    <a:pt x="32565" y="2581"/>
                    <a:pt x="32565" y="2581"/>
                    <a:pt x="32565" y="2581"/>
                  </a:cubicBezTo>
                  <a:cubicBezTo>
                    <a:pt x="33994" y="2581"/>
                    <a:pt x="33994" y="2581"/>
                    <a:pt x="33994" y="2581"/>
                  </a:cubicBezTo>
                  <a:cubicBezTo>
                    <a:pt x="33994" y="2347"/>
                    <a:pt x="33994" y="2347"/>
                    <a:pt x="33994" y="2347"/>
                  </a:cubicBezTo>
                  <a:lnTo>
                    <a:pt x="32821" y="23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1E1F21"/>
                </a:solidFill>
              </a:endParaRPr>
            </a:p>
          </p:txBody>
        </p:sp>
        <p:sp>
          <p:nvSpPr>
            <p:cNvPr id="23" name="Freeform 6"/>
            <p:cNvSpPr>
              <a:spLocks noChangeAspect="1"/>
            </p:cNvSpPr>
            <p:nvPr/>
          </p:nvSpPr>
          <p:spPr bwMode="auto">
            <a:xfrm>
              <a:off x="2498725" y="141288"/>
              <a:ext cx="546100" cy="534988"/>
            </a:xfrm>
            <a:custGeom>
              <a:avLst/>
              <a:gdLst>
                <a:gd name="T0" fmla="*/ 209 w 344"/>
                <a:gd name="T1" fmla="*/ 0 h 337"/>
                <a:gd name="T2" fmla="*/ 0 w 344"/>
                <a:gd name="T3" fmla="*/ 0 h 337"/>
                <a:gd name="T4" fmla="*/ 0 w 344"/>
                <a:gd name="T5" fmla="*/ 337 h 337"/>
                <a:gd name="T6" fmla="*/ 344 w 344"/>
                <a:gd name="T7" fmla="*/ 337 h 337"/>
                <a:gd name="T8" fmla="*/ 344 w 344"/>
                <a:gd name="T9" fmla="*/ 133 h 337"/>
                <a:gd name="T10" fmla="*/ 209 w 344"/>
                <a:gd name="T11" fmla="*/ 133 h 337"/>
                <a:gd name="T12" fmla="*/ 209 w 344"/>
                <a:gd name="T13" fmla="*/ 0 h 337"/>
                <a:gd name="T14" fmla="*/ 209 w 344"/>
                <a:gd name="T15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37">
                  <a:moveTo>
                    <a:pt x="209" y="0"/>
                  </a:moveTo>
                  <a:lnTo>
                    <a:pt x="0" y="0"/>
                  </a:lnTo>
                  <a:lnTo>
                    <a:pt x="0" y="337"/>
                  </a:lnTo>
                  <a:lnTo>
                    <a:pt x="344" y="337"/>
                  </a:lnTo>
                  <a:lnTo>
                    <a:pt x="344" y="133"/>
                  </a:lnTo>
                  <a:lnTo>
                    <a:pt x="209" y="133"/>
                  </a:lnTo>
                  <a:lnTo>
                    <a:pt x="209" y="0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F89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1E1F21"/>
                </a:solidFill>
              </a:endParaRPr>
            </a:p>
          </p:txBody>
        </p:sp>
        <p:sp>
          <p:nvSpPr>
            <p:cNvPr id="24" name="Freeform 7"/>
            <p:cNvSpPr>
              <a:spLocks noChangeAspect="1"/>
            </p:cNvSpPr>
            <p:nvPr/>
          </p:nvSpPr>
          <p:spPr bwMode="auto">
            <a:xfrm>
              <a:off x="2830513" y="0"/>
              <a:ext cx="350838" cy="352425"/>
            </a:xfrm>
            <a:custGeom>
              <a:avLst/>
              <a:gdLst>
                <a:gd name="T0" fmla="*/ 221 w 221"/>
                <a:gd name="T1" fmla="*/ 0 h 222"/>
                <a:gd name="T2" fmla="*/ 0 w 221"/>
                <a:gd name="T3" fmla="*/ 0 h 222"/>
                <a:gd name="T4" fmla="*/ 0 w 221"/>
                <a:gd name="T5" fmla="*/ 89 h 222"/>
                <a:gd name="T6" fmla="*/ 135 w 221"/>
                <a:gd name="T7" fmla="*/ 89 h 222"/>
                <a:gd name="T8" fmla="*/ 135 w 221"/>
                <a:gd name="T9" fmla="*/ 222 h 222"/>
                <a:gd name="T10" fmla="*/ 221 w 221"/>
                <a:gd name="T11" fmla="*/ 222 h 222"/>
                <a:gd name="T12" fmla="*/ 221 w 221"/>
                <a:gd name="T13" fmla="*/ 0 h 222"/>
                <a:gd name="T14" fmla="*/ 221 w 221"/>
                <a:gd name="T15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22">
                  <a:moveTo>
                    <a:pt x="221" y="0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89"/>
                  </a:lnTo>
                  <a:lnTo>
                    <a:pt x="135" y="222"/>
                  </a:lnTo>
                  <a:lnTo>
                    <a:pt x="221" y="222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16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1E1F21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>
          <a:xfrm>
            <a:off x="0" y="5092700"/>
            <a:ext cx="9144000" cy="617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1196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0" r:id="rId1"/>
    <p:sldLayoutId id="2147484191" r:id="rId2"/>
    <p:sldLayoutId id="2147484194" r:id="rId3"/>
    <p:sldLayoutId id="2147484199" r:id="rId4"/>
    <p:sldLayoutId id="2147484200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708" rtl="0" eaLnBrk="1" latinLnBrk="0" hangingPunct="1">
        <a:lnSpc>
          <a:spcPct val="80000"/>
        </a:lnSpc>
        <a:spcBef>
          <a:spcPct val="0"/>
        </a:spcBef>
        <a:buNone/>
        <a:defRPr sz="28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20" indent="-274320" algn="l" defTabSz="913708" rtl="0" eaLnBrk="1" latinLnBrk="0" hangingPunct="1">
        <a:spcBef>
          <a:spcPct val="20000"/>
        </a:spcBef>
        <a:buClr>
          <a:schemeClr val="accent1"/>
        </a:buClr>
        <a:buSzPct val="80000"/>
        <a:buFont typeface="Wingdings 3" panose="05040102010807070707" pitchFamily="18" charset="2"/>
        <a:buChar char="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75" indent="-228600" algn="l" defTabSz="91370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63" indent="-176213" algn="l" defTabSz="91370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138" indent="-153988" algn="l" defTabSz="91370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125413" algn="l" defTabSz="913708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691" indent="-228434" algn="l" defTabSz="913708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546" indent="-228434" algn="l" defTabSz="913708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398" indent="-228434" algn="l" defTabSz="913708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253" indent="-228434" algn="l" defTabSz="913708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54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08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62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413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62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123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972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822" algn="l" defTabSz="9137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4"/>
            </p:custDataLst>
          </p:nvPr>
        </p:nvGraphicFramePr>
        <p:xfrm>
          <a:off x="0" y="0"/>
          <a:ext cx="161984" cy="1214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214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493000"/>
            <a:ext cx="438976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92" y="20653"/>
            <a:ext cx="633187" cy="1615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050" kern="1200" dirty="0">
                <a:solidFill>
                  <a:srgbClr val="808080"/>
                </a:solidFill>
                <a:latin typeface="Verdana"/>
                <a:ea typeface="ＭＳ Ｐゴシック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90" y="406965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kern="1200" dirty="0">
                <a:solidFill>
                  <a:srgbClr val="808080"/>
                </a:solidFill>
                <a:latin typeface="Verdana"/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6" y="1058102"/>
            <a:ext cx="4350892" cy="387525"/>
            <a:chOff x="915" y="711"/>
            <a:chExt cx="2686" cy="31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1"/>
              <a:ext cx="2686" cy="31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b="1" kern="1200" dirty="0">
                  <a:latin typeface="Verdana"/>
                  <a:ea typeface="ＭＳ Ｐゴシック"/>
                  <a:cs typeface="+mn-cs"/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kern="1200" dirty="0">
                  <a:solidFill>
                    <a:srgbClr val="808080"/>
                  </a:solidFill>
                  <a:latin typeface="Verdana"/>
                  <a:ea typeface="ＭＳ Ｐゴシック"/>
                  <a:cs typeface="+mn-cs"/>
                </a:rPr>
                <a:t>Unit of measure</a:t>
              </a:r>
            </a:p>
          </p:txBody>
        </p:sp>
      </p:grpSp>
      <p:grpSp>
        <p:nvGrpSpPr>
          <p:cNvPr id="23" name="McK Slide Elements" hidden="1"/>
          <p:cNvGrpSpPr>
            <a:grpSpLocks/>
          </p:cNvGrpSpPr>
          <p:nvPr/>
        </p:nvGrpSpPr>
        <p:grpSpPr bwMode="auto">
          <a:xfrm>
            <a:off x="121488" y="4685033"/>
            <a:ext cx="7219906" cy="280620"/>
            <a:chOff x="75" y="3964"/>
            <a:chExt cx="4826" cy="231"/>
          </a:xfrm>
        </p:grpSpPr>
        <p:sp>
          <p:nvSpPr>
            <p:cNvPr id="24" name="McK 4. Footnote"/>
            <p:cNvSpPr txBox="1">
              <a:spLocks noChangeArrowheads="1"/>
            </p:cNvSpPr>
            <p:nvPr/>
          </p:nvSpPr>
          <p:spPr bwMode="auto">
            <a:xfrm>
              <a:off x="75" y="3964"/>
              <a:ext cx="482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2869" indent="-92869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750" kern="1200" dirty="0">
                  <a:solidFill>
                    <a:srgbClr val="000000"/>
                  </a:solidFill>
                  <a:latin typeface="Verdana"/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25" name="McK 5. Source"/>
            <p:cNvSpPr>
              <a:spLocks noChangeArrowheads="1"/>
            </p:cNvSpPr>
            <p:nvPr/>
          </p:nvSpPr>
          <p:spPr bwMode="auto">
            <a:xfrm>
              <a:off x="75" y="4100"/>
              <a:ext cx="4826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23863" indent="-423863" defTabSz="685145" fontAlgn="base">
                <a:spcBef>
                  <a:spcPct val="0"/>
                </a:spcBef>
                <a:spcAft>
                  <a:spcPct val="0"/>
                </a:spcAft>
                <a:tabLst>
                  <a:tab pos="429816" algn="l"/>
                </a:tabLst>
              </a:pPr>
              <a:r>
                <a:rPr lang="en-US" sz="750" kern="1200" dirty="0">
                  <a:latin typeface="Verdana"/>
                  <a:ea typeface="ＭＳ Ｐゴシック"/>
                  <a:cs typeface="+mn-cs"/>
                </a:rPr>
                <a:t>Source:	Source</a:t>
              </a:r>
            </a:p>
          </p:txBody>
        </p:sp>
      </p:grpSp>
      <p:sp>
        <p:nvSpPr>
          <p:cNvPr id="28" name="Line 7"/>
          <p:cNvSpPr>
            <a:spLocks noChangeShapeType="1"/>
          </p:cNvSpPr>
          <p:nvPr/>
        </p:nvSpPr>
        <p:spPr bwMode="auto">
          <a:xfrm flipV="1">
            <a:off x="121492" y="4995267"/>
            <a:ext cx="8296712" cy="0"/>
          </a:xfrm>
          <a:prstGeom prst="line">
            <a:avLst/>
          </a:prstGeom>
          <a:noFill/>
          <a:ln w="12700">
            <a:solidFill>
              <a:srgbClr val="56AA1C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200" kern="1200" dirty="0">
              <a:latin typeface="Arial" charset="0"/>
              <a:ea typeface="ＭＳ Ｐゴシック"/>
              <a:cs typeface="+mn-cs"/>
            </a:endParaRPr>
          </a:p>
        </p:txBody>
      </p:sp>
      <p:pic>
        <p:nvPicPr>
          <p:cNvPr id="27" name="Picture 2" descr="SYSCO_tagline.ai"/>
          <p:cNvPicPr>
            <a:picLocks noChangeAspect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204"/>
          <a:stretch/>
        </p:blipFill>
        <p:spPr bwMode="ltGray">
          <a:xfrm>
            <a:off x="8465757" y="4847035"/>
            <a:ext cx="587932" cy="2468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0" name="LegendBoxes" hidden="1"/>
          <p:cNvGrpSpPr>
            <a:grpSpLocks/>
          </p:cNvGrpSpPr>
          <p:nvPr/>
        </p:nvGrpSpPr>
        <p:grpSpPr bwMode="auto">
          <a:xfrm>
            <a:off x="8104401" y="222114"/>
            <a:ext cx="674690" cy="747713"/>
            <a:chOff x="4936" y="176"/>
            <a:chExt cx="425" cy="628"/>
          </a:xfrm>
        </p:grpSpPr>
        <p:sp>
          <p:nvSpPr>
            <p:cNvPr id="31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6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2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 dirty="0">
                <a:latin typeface="Verdana"/>
                <a:ea typeface="ＭＳ Ｐゴシック"/>
                <a:cs typeface="+mn-cs"/>
              </a:endParaRPr>
            </a:p>
          </p:txBody>
        </p:sp>
        <p:sp>
          <p:nvSpPr>
            <p:cNvPr id="33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6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4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 dirty="0">
                <a:latin typeface="Verdana"/>
                <a:ea typeface="ＭＳ Ｐゴシック"/>
                <a:cs typeface="+mn-cs"/>
              </a:endParaRPr>
            </a:p>
          </p:txBody>
        </p:sp>
        <p:sp>
          <p:nvSpPr>
            <p:cNvPr id="35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6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6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 dirty="0">
                <a:latin typeface="Verdana"/>
                <a:ea typeface="ＭＳ Ｐゴシック"/>
                <a:cs typeface="+mn-cs"/>
              </a:endParaRPr>
            </a:p>
          </p:txBody>
        </p:sp>
        <p:sp>
          <p:nvSpPr>
            <p:cNvPr id="37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6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38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 dirty="0">
                <a:latin typeface="Verdana"/>
                <a:ea typeface="ＭＳ Ｐゴシック"/>
                <a:cs typeface="+mn-cs"/>
              </a:endParaRPr>
            </a:p>
          </p:txBody>
        </p:sp>
      </p:grpSp>
      <p:grpSp>
        <p:nvGrpSpPr>
          <p:cNvPr id="39" name="LegendLines" hidden="1"/>
          <p:cNvGrpSpPr>
            <a:grpSpLocks/>
          </p:cNvGrpSpPr>
          <p:nvPr/>
        </p:nvGrpSpPr>
        <p:grpSpPr bwMode="auto">
          <a:xfrm>
            <a:off x="7796439" y="222114"/>
            <a:ext cx="982665" cy="547688"/>
            <a:chOff x="4750" y="176"/>
            <a:chExt cx="619" cy="460"/>
          </a:xfrm>
        </p:grpSpPr>
        <p:sp>
          <p:nvSpPr>
            <p:cNvPr id="40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 dirty="0">
                <a:latin typeface="Verdana"/>
                <a:ea typeface="ＭＳ Ｐゴシック"/>
                <a:cs typeface="+mn-cs"/>
              </a:endParaRPr>
            </a:p>
          </p:txBody>
        </p:sp>
        <p:sp>
          <p:nvSpPr>
            <p:cNvPr id="41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 dirty="0">
                <a:latin typeface="Verdana"/>
                <a:ea typeface="ＭＳ Ｐゴシック"/>
                <a:cs typeface="+mn-cs"/>
              </a:endParaRPr>
            </a:p>
          </p:txBody>
        </p:sp>
        <p:sp>
          <p:nvSpPr>
            <p:cNvPr id="42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00" kern="1200" dirty="0">
                <a:latin typeface="Verdana"/>
                <a:ea typeface="ＭＳ Ｐゴシック"/>
                <a:cs typeface="+mn-cs"/>
              </a:endParaRPr>
            </a:p>
          </p:txBody>
        </p:sp>
        <p:sp>
          <p:nvSpPr>
            <p:cNvPr id="43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6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4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6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45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6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</p:grpSp>
      <p:grpSp>
        <p:nvGrpSpPr>
          <p:cNvPr id="46" name="McKSticker" hidden="1"/>
          <p:cNvGrpSpPr/>
          <p:nvPr/>
        </p:nvGrpSpPr>
        <p:grpSpPr bwMode="auto">
          <a:xfrm>
            <a:off x="8091221" y="222112"/>
            <a:ext cx="824393" cy="166199"/>
            <a:chOff x="7916383" y="285750"/>
            <a:chExt cx="824392" cy="221599"/>
          </a:xfrm>
        </p:grpSpPr>
        <p:sp>
          <p:nvSpPr>
            <p:cNvPr id="47" name="StickerRectangle"/>
            <p:cNvSpPr>
              <a:spLocks noChangeArrowheads="1"/>
            </p:cNvSpPr>
            <p:nvPr/>
          </p:nvSpPr>
          <p:spPr bwMode="auto">
            <a:xfrm>
              <a:off x="7916383" y="285750"/>
              <a:ext cx="824392" cy="22159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solidFill>
                    <a:srgbClr val="808080"/>
                  </a:solidFill>
                  <a:latin typeface="Verdana"/>
                  <a:ea typeface="ＭＳ Ｐゴシック"/>
                  <a:cs typeface="+mn-cs"/>
                </a:rPr>
                <a:t>PRELIMINARY</a:t>
              </a:r>
            </a:p>
          </p:txBody>
        </p:sp>
        <p:cxnSp>
          <p:nvCxnSpPr>
            <p:cNvPr id="48" name="AutoShape 31"/>
            <p:cNvCxnSpPr>
              <a:cxnSpLocks noChangeShapeType="1"/>
              <a:stCxn id="47" idx="2"/>
              <a:endCxn id="47" idx="4"/>
            </p:cNvCxnSpPr>
            <p:nvPr/>
          </p:nvCxnSpPr>
          <p:spPr bwMode="auto">
            <a:xfrm>
              <a:off x="7916383" y="285750"/>
              <a:ext cx="0" cy="221599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9" name="AutoShape 32"/>
            <p:cNvCxnSpPr>
              <a:cxnSpLocks noChangeShapeType="1"/>
              <a:stCxn id="47" idx="4"/>
              <a:endCxn id="47" idx="6"/>
            </p:cNvCxnSpPr>
            <p:nvPr/>
          </p:nvCxnSpPr>
          <p:spPr bwMode="auto">
            <a:xfrm>
              <a:off x="7916383" y="507349"/>
              <a:ext cx="82439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0" name="LegendMoons" hidden="1"/>
          <p:cNvGrpSpPr/>
          <p:nvPr/>
        </p:nvGrpSpPr>
        <p:grpSpPr bwMode="auto">
          <a:xfrm>
            <a:off x="8037079" y="222112"/>
            <a:ext cx="740662" cy="979887"/>
            <a:chOff x="6655594" y="273840"/>
            <a:chExt cx="740662" cy="1306516"/>
          </a:xfrm>
        </p:grpSpPr>
        <p:grpSp>
          <p:nvGrpSpPr>
            <p:cNvPr id="51" name="MoonLegend1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69" name="Oval 38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  <p:sp>
            <p:nvSpPr>
              <p:cNvPr id="70" name="Arc 39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52" name="MoonLegend2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7" name="Oval 4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  <p:sp>
            <p:nvSpPr>
              <p:cNvPr id="68" name="Arc 42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53" name="MoonLegend4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  <p:sp>
            <p:nvSpPr>
              <p:cNvPr id="6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54" name="MoonLegend5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3" name="Oval 50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  <p:sp>
            <p:nvSpPr>
              <p:cNvPr id="64" name="Oval 51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55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1998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56" name="Legend2"/>
            <p:cNvSpPr>
              <a:spLocks noChangeArrowheads="1"/>
            </p:cNvSpPr>
            <p:nvPr/>
          </p:nvSpPr>
          <p:spPr bwMode="auto">
            <a:xfrm>
              <a:off x="6976269" y="561179"/>
              <a:ext cx="41998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57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1998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58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1998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sp>
          <p:nvSpPr>
            <p:cNvPr id="59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19987" cy="184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671513" fontAlgn="base">
                <a:spcBef>
                  <a:spcPct val="0"/>
                </a:spcBef>
                <a:spcAft>
                  <a:spcPct val="0"/>
                </a:spcAft>
                <a:buClr>
                  <a:srgbClr val="126FBD"/>
                </a:buClr>
              </a:pPr>
              <a:r>
                <a:rPr lang="en-US" sz="900" kern="1200" dirty="0">
                  <a:latin typeface="Verdana"/>
                  <a:ea typeface="ＭＳ Ｐゴシック"/>
                  <a:cs typeface="+mn-cs"/>
                </a:rPr>
                <a:t>Legend</a:t>
              </a:r>
            </a:p>
          </p:txBody>
        </p:sp>
        <p:grpSp>
          <p:nvGrpSpPr>
            <p:cNvPr id="60" name="MoonLegend3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00" kern="1200" dirty="0">
                  <a:latin typeface="Verdana"/>
                  <a:ea typeface="ＭＳ Ｐゴシック"/>
                  <a:cs typeface="+mn-cs"/>
                </a:endParaRPr>
              </a:p>
            </p:txBody>
          </p:sp>
        </p:grpSp>
      </p:grp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90" y="176148"/>
            <a:ext cx="8794113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2" name="Slide Number"/>
          <p:cNvSpPr txBox="1">
            <a:spLocks/>
          </p:cNvSpPr>
          <p:nvPr userDrawn="1"/>
        </p:nvSpPr>
        <p:spPr bwMode="auto">
          <a:xfrm>
            <a:off x="4489447" y="5028084"/>
            <a:ext cx="165110" cy="11541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50" kern="1200" smtClean="0">
                <a:ea typeface="ＭＳ Ｐゴシック"/>
                <a:cs typeface="+mn-cs"/>
              </a:rPr>
              <a:pPr algn="ct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50" kern="1200" dirty="0"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1844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4" r:id="rId1"/>
  </p:sldLayoutIdLst>
  <p:hf hdr="0" ftr="0" dt="0"/>
  <p:txStyles>
    <p:titleStyle>
      <a:lvl1pPr algn="l" defTabSz="685145" rtl="0" eaLnBrk="1" fontAlgn="base" hangingPunct="1">
        <a:spcBef>
          <a:spcPct val="0"/>
        </a:spcBef>
        <a:spcAft>
          <a:spcPct val="0"/>
        </a:spcAft>
        <a:tabLst>
          <a:tab pos="206515" algn="l"/>
        </a:tabLst>
        <a:defRPr sz="1425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9861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972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9582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9444" algn="l" defTabSz="685145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148205" indent="-14699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 baseline="0">
          <a:solidFill>
            <a:schemeClr val="tx1"/>
          </a:solidFill>
          <a:latin typeface="+mn-lt"/>
        </a:defRPr>
      </a:lvl2pPr>
      <a:lvl3pPr marL="349861" indent="-200441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 baseline="0">
          <a:solidFill>
            <a:schemeClr val="tx1"/>
          </a:solidFill>
          <a:latin typeface="+mn-lt"/>
        </a:defRPr>
      </a:lvl3pPr>
      <a:lvl4pPr marL="470126" indent="-119050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 baseline="0">
          <a:solidFill>
            <a:schemeClr val="tx1"/>
          </a:solidFill>
          <a:latin typeface="+mn-lt"/>
        </a:defRPr>
      </a:lvl4pPr>
      <a:lvl5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5pPr>
      <a:lvl6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6pPr>
      <a:lvl7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7pPr>
      <a:lvl8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8pPr>
      <a:lvl9pPr marL="573772" indent="-99614" algn="l" defTabSz="68514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9861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9972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49582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99444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4930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99165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49026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98887" algn="l" defTabSz="699722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436961" y="4879548"/>
            <a:ext cx="3068239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75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l" defTabSz="913685" rtl="0" fontAlgn="auto">
              <a:spcBef>
                <a:spcPts val="0"/>
              </a:spcBef>
              <a:spcAft>
                <a:spcPts val="0"/>
              </a:spcAft>
            </a:pPr>
            <a:r>
              <a:rPr lang="en-US" sz="6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© 2018 Technology Business Management Council, All rights reserved.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-1192" y="4879548"/>
            <a:ext cx="33909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8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85" fontAlgn="auto">
              <a:spcBef>
                <a:spcPts val="0"/>
              </a:spcBef>
              <a:spcAft>
                <a:spcPts val="0"/>
              </a:spcAft>
            </a:pPr>
            <a:fld id="{4C1362D4-5ABD-4326-94E6-7A5ADE3C9964}" type="slidenum">
              <a:rPr lang="en-US" sz="700" smtClean="0">
                <a:solidFill>
                  <a:schemeClr val="accent1"/>
                </a:solidFill>
                <a:ea typeface="+mn-ea"/>
              </a:rPr>
              <a:pPr defTabSz="91368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>
              <a:solidFill>
                <a:schemeClr val="accent1"/>
              </a:solidFill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2" y="914402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7721601" y="4855434"/>
            <a:ext cx="1143001" cy="186415"/>
            <a:chOff x="2498725" y="0"/>
            <a:chExt cx="4146551" cy="676276"/>
          </a:xfrm>
        </p:grpSpPr>
        <p:sp>
          <p:nvSpPr>
            <p:cNvPr id="17" name="Freeform 5"/>
            <p:cNvSpPr>
              <a:spLocks noChangeAspect="1" noEditPoints="1"/>
            </p:cNvSpPr>
            <p:nvPr/>
          </p:nvSpPr>
          <p:spPr bwMode="auto">
            <a:xfrm>
              <a:off x="3443288" y="239713"/>
              <a:ext cx="3201988" cy="249238"/>
            </a:xfrm>
            <a:custGeom>
              <a:avLst/>
              <a:gdLst>
                <a:gd name="T0" fmla="*/ 1991 w 33994"/>
                <a:gd name="T1" fmla="*/ 64 h 2645"/>
                <a:gd name="T2" fmla="*/ 1273 w 33994"/>
                <a:gd name="T3" fmla="*/ 555 h 2645"/>
                <a:gd name="T4" fmla="*/ 718 w 33994"/>
                <a:gd name="T5" fmla="*/ 2581 h 2645"/>
                <a:gd name="T6" fmla="*/ 0 w 33994"/>
                <a:gd name="T7" fmla="*/ 555 h 2645"/>
                <a:gd name="T8" fmla="*/ 5171 w 33994"/>
                <a:gd name="T9" fmla="*/ 1881 h 2645"/>
                <a:gd name="T10" fmla="*/ 3195 w 33994"/>
                <a:gd name="T11" fmla="*/ 2581 h 2645"/>
                <a:gd name="T12" fmla="*/ 4133 w 33994"/>
                <a:gd name="T13" fmla="*/ 64 h 2645"/>
                <a:gd name="T14" fmla="*/ 4620 w 33994"/>
                <a:gd name="T15" fmla="*/ 1259 h 2645"/>
                <a:gd name="T16" fmla="*/ 5171 w 33994"/>
                <a:gd name="T17" fmla="*/ 1881 h 2645"/>
                <a:gd name="T18" fmla="*/ 4151 w 33994"/>
                <a:gd name="T19" fmla="*/ 1070 h 2645"/>
                <a:gd name="T20" fmla="*/ 4126 w 33994"/>
                <a:gd name="T21" fmla="*/ 534 h 2645"/>
                <a:gd name="T22" fmla="*/ 3749 w 33994"/>
                <a:gd name="T23" fmla="*/ 1070 h 2645"/>
                <a:gd name="T24" fmla="*/ 4169 w 33994"/>
                <a:gd name="T25" fmla="*/ 1540 h 2645"/>
                <a:gd name="T26" fmla="*/ 3749 w 33994"/>
                <a:gd name="T27" fmla="*/ 2112 h 2645"/>
                <a:gd name="T28" fmla="*/ 4617 w 33994"/>
                <a:gd name="T29" fmla="*/ 1817 h 2645"/>
                <a:gd name="T30" fmla="*/ 7697 w 33994"/>
                <a:gd name="T31" fmla="*/ 1707 h 2645"/>
                <a:gd name="T32" fmla="*/ 6279 w 33994"/>
                <a:gd name="T33" fmla="*/ 64 h 2645"/>
                <a:gd name="T34" fmla="*/ 6833 w 33994"/>
                <a:gd name="T35" fmla="*/ 2581 h 2645"/>
                <a:gd name="T36" fmla="*/ 6840 w 33994"/>
                <a:gd name="T37" fmla="*/ 651 h 2645"/>
                <a:gd name="T38" fmla="*/ 7900 w 33994"/>
                <a:gd name="T39" fmla="*/ 2581 h 2645"/>
                <a:gd name="T40" fmla="*/ 8568 w 33994"/>
                <a:gd name="T41" fmla="*/ 651 h 2645"/>
                <a:gd name="T42" fmla="*/ 9123 w 33994"/>
                <a:gd name="T43" fmla="*/ 2581 h 2645"/>
                <a:gd name="T44" fmla="*/ 8287 w 33994"/>
                <a:gd name="T45" fmla="*/ 64 h 2645"/>
                <a:gd name="T46" fmla="*/ 13062 w 33994"/>
                <a:gd name="T47" fmla="*/ 2411 h 2645"/>
                <a:gd name="T48" fmla="*/ 13062 w 33994"/>
                <a:gd name="T49" fmla="*/ 235 h 2645"/>
                <a:gd name="T50" fmla="*/ 13933 w 33994"/>
                <a:gd name="T51" fmla="*/ 399 h 2645"/>
                <a:gd name="T52" fmla="*/ 11751 w 33994"/>
                <a:gd name="T53" fmla="*/ 1323 h 2645"/>
                <a:gd name="T54" fmla="*/ 13994 w 33994"/>
                <a:gd name="T55" fmla="*/ 2183 h 2645"/>
                <a:gd name="T56" fmla="*/ 13062 w 33994"/>
                <a:gd name="T57" fmla="*/ 2411 h 2645"/>
                <a:gd name="T58" fmla="*/ 16559 w 33994"/>
                <a:gd name="T59" fmla="*/ 2645 h 2645"/>
                <a:gd name="T60" fmla="*/ 16559 w 33994"/>
                <a:gd name="T61" fmla="*/ 0 h 2645"/>
                <a:gd name="T62" fmla="*/ 17593 w 33994"/>
                <a:gd name="T63" fmla="*/ 1323 h 2645"/>
                <a:gd name="T64" fmla="*/ 15524 w 33994"/>
                <a:gd name="T65" fmla="*/ 1323 h 2645"/>
                <a:gd name="T66" fmla="*/ 17593 w 33994"/>
                <a:gd name="T67" fmla="*/ 1323 h 2645"/>
                <a:gd name="T68" fmla="*/ 20254 w 33994"/>
                <a:gd name="T69" fmla="*/ 2411 h 2645"/>
                <a:gd name="T70" fmla="*/ 19589 w 33994"/>
                <a:gd name="T71" fmla="*/ 64 h 2645"/>
                <a:gd name="T72" fmla="*/ 19333 w 33994"/>
                <a:gd name="T73" fmla="*/ 1643 h 2645"/>
                <a:gd name="T74" fmla="*/ 21175 w 33994"/>
                <a:gd name="T75" fmla="*/ 1643 h 2645"/>
                <a:gd name="T76" fmla="*/ 20919 w 33994"/>
                <a:gd name="T77" fmla="*/ 64 h 2645"/>
                <a:gd name="T78" fmla="*/ 24777 w 33994"/>
                <a:gd name="T79" fmla="*/ 2197 h 2645"/>
                <a:gd name="T80" fmla="*/ 23270 w 33994"/>
                <a:gd name="T81" fmla="*/ 64 h 2645"/>
                <a:gd name="T82" fmla="*/ 22950 w 33994"/>
                <a:gd name="T83" fmla="*/ 2581 h 2645"/>
                <a:gd name="T84" fmla="*/ 23206 w 33994"/>
                <a:gd name="T85" fmla="*/ 427 h 2645"/>
                <a:gd name="T86" fmla="*/ 24713 w 33994"/>
                <a:gd name="T87" fmla="*/ 2581 h 2645"/>
                <a:gd name="T88" fmla="*/ 25033 w 33994"/>
                <a:gd name="T89" fmla="*/ 64 h 2645"/>
                <a:gd name="T90" fmla="*/ 24777 w 33994"/>
                <a:gd name="T91" fmla="*/ 2197 h 2645"/>
                <a:gd name="T92" fmla="*/ 26958 w 33994"/>
                <a:gd name="T93" fmla="*/ 1323 h 2645"/>
                <a:gd name="T94" fmla="*/ 28640 w 33994"/>
                <a:gd name="T95" fmla="*/ 566 h 2645"/>
                <a:gd name="T96" fmla="*/ 27993 w 33994"/>
                <a:gd name="T97" fmla="*/ 0 h 2645"/>
                <a:gd name="T98" fmla="*/ 27993 w 33994"/>
                <a:gd name="T99" fmla="*/ 2645 h 2645"/>
                <a:gd name="T100" fmla="*/ 28714 w 33994"/>
                <a:gd name="T101" fmla="*/ 2034 h 2645"/>
                <a:gd name="T102" fmla="*/ 30490 w 33994"/>
                <a:gd name="T103" fmla="*/ 2581 h 2645"/>
                <a:gd name="T104" fmla="*/ 30746 w 33994"/>
                <a:gd name="T105" fmla="*/ 64 h 2645"/>
                <a:gd name="T106" fmla="*/ 30490 w 33994"/>
                <a:gd name="T107" fmla="*/ 2581 h 2645"/>
                <a:gd name="T108" fmla="*/ 32821 w 33994"/>
                <a:gd name="T109" fmla="*/ 64 h 2645"/>
                <a:gd name="T110" fmla="*/ 32565 w 33994"/>
                <a:gd name="T111" fmla="*/ 2581 h 2645"/>
                <a:gd name="T112" fmla="*/ 33994 w 33994"/>
                <a:gd name="T113" fmla="*/ 2347 h 2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994" h="2645">
                  <a:moveTo>
                    <a:pt x="0" y="64"/>
                  </a:moveTo>
                  <a:cubicBezTo>
                    <a:pt x="1991" y="64"/>
                    <a:pt x="1991" y="64"/>
                    <a:pt x="1991" y="64"/>
                  </a:cubicBezTo>
                  <a:cubicBezTo>
                    <a:pt x="1991" y="555"/>
                    <a:pt x="1991" y="555"/>
                    <a:pt x="1991" y="555"/>
                  </a:cubicBezTo>
                  <a:cubicBezTo>
                    <a:pt x="1273" y="555"/>
                    <a:pt x="1273" y="555"/>
                    <a:pt x="1273" y="555"/>
                  </a:cubicBezTo>
                  <a:cubicBezTo>
                    <a:pt x="1273" y="2581"/>
                    <a:pt x="1273" y="2581"/>
                    <a:pt x="1273" y="2581"/>
                  </a:cubicBezTo>
                  <a:cubicBezTo>
                    <a:pt x="718" y="2581"/>
                    <a:pt x="718" y="2581"/>
                    <a:pt x="718" y="2581"/>
                  </a:cubicBezTo>
                  <a:cubicBezTo>
                    <a:pt x="718" y="555"/>
                    <a:pt x="718" y="555"/>
                    <a:pt x="718" y="555"/>
                  </a:cubicBezTo>
                  <a:cubicBezTo>
                    <a:pt x="0" y="555"/>
                    <a:pt x="0" y="555"/>
                    <a:pt x="0" y="555"/>
                  </a:cubicBezTo>
                  <a:lnTo>
                    <a:pt x="0" y="64"/>
                  </a:lnTo>
                  <a:close/>
                  <a:moveTo>
                    <a:pt x="5171" y="1881"/>
                  </a:moveTo>
                  <a:cubicBezTo>
                    <a:pt x="5171" y="2407"/>
                    <a:pt x="4673" y="2581"/>
                    <a:pt x="4225" y="2581"/>
                  </a:cubicBezTo>
                  <a:cubicBezTo>
                    <a:pt x="3195" y="2581"/>
                    <a:pt x="3195" y="2581"/>
                    <a:pt x="3195" y="2581"/>
                  </a:cubicBezTo>
                  <a:cubicBezTo>
                    <a:pt x="3195" y="64"/>
                    <a:pt x="3195" y="64"/>
                    <a:pt x="3195" y="64"/>
                  </a:cubicBezTo>
                  <a:cubicBezTo>
                    <a:pt x="4133" y="64"/>
                    <a:pt x="4133" y="64"/>
                    <a:pt x="4133" y="64"/>
                  </a:cubicBezTo>
                  <a:cubicBezTo>
                    <a:pt x="4574" y="64"/>
                    <a:pt x="5054" y="157"/>
                    <a:pt x="5054" y="704"/>
                  </a:cubicBezTo>
                  <a:cubicBezTo>
                    <a:pt x="5054" y="985"/>
                    <a:pt x="4880" y="1177"/>
                    <a:pt x="4620" y="1259"/>
                  </a:cubicBezTo>
                  <a:cubicBezTo>
                    <a:pt x="4620" y="1266"/>
                    <a:pt x="4620" y="1266"/>
                    <a:pt x="4620" y="1266"/>
                  </a:cubicBezTo>
                  <a:cubicBezTo>
                    <a:pt x="4951" y="1309"/>
                    <a:pt x="5171" y="1554"/>
                    <a:pt x="5171" y="1881"/>
                  </a:cubicBezTo>
                  <a:close/>
                  <a:moveTo>
                    <a:pt x="3749" y="1070"/>
                  </a:moveTo>
                  <a:cubicBezTo>
                    <a:pt x="4151" y="1070"/>
                    <a:pt x="4151" y="1070"/>
                    <a:pt x="4151" y="1070"/>
                  </a:cubicBezTo>
                  <a:cubicBezTo>
                    <a:pt x="4321" y="1070"/>
                    <a:pt x="4499" y="999"/>
                    <a:pt x="4499" y="797"/>
                  </a:cubicBezTo>
                  <a:cubicBezTo>
                    <a:pt x="4499" y="587"/>
                    <a:pt x="4300" y="534"/>
                    <a:pt x="4126" y="534"/>
                  </a:cubicBezTo>
                  <a:cubicBezTo>
                    <a:pt x="3749" y="534"/>
                    <a:pt x="3749" y="534"/>
                    <a:pt x="3749" y="534"/>
                  </a:cubicBezTo>
                  <a:lnTo>
                    <a:pt x="3749" y="1070"/>
                  </a:lnTo>
                  <a:close/>
                  <a:moveTo>
                    <a:pt x="4617" y="1817"/>
                  </a:moveTo>
                  <a:cubicBezTo>
                    <a:pt x="4617" y="1579"/>
                    <a:pt x="4350" y="1540"/>
                    <a:pt x="4169" y="1540"/>
                  </a:cubicBezTo>
                  <a:cubicBezTo>
                    <a:pt x="3749" y="1540"/>
                    <a:pt x="3749" y="1540"/>
                    <a:pt x="3749" y="1540"/>
                  </a:cubicBezTo>
                  <a:cubicBezTo>
                    <a:pt x="3749" y="2112"/>
                    <a:pt x="3749" y="2112"/>
                    <a:pt x="3749" y="2112"/>
                  </a:cubicBezTo>
                  <a:cubicBezTo>
                    <a:pt x="4247" y="2112"/>
                    <a:pt x="4247" y="2112"/>
                    <a:pt x="4247" y="2112"/>
                  </a:cubicBezTo>
                  <a:cubicBezTo>
                    <a:pt x="4421" y="2112"/>
                    <a:pt x="4617" y="2037"/>
                    <a:pt x="4617" y="1817"/>
                  </a:cubicBezTo>
                  <a:close/>
                  <a:moveTo>
                    <a:pt x="7704" y="1707"/>
                  </a:moveTo>
                  <a:cubicBezTo>
                    <a:pt x="7697" y="1707"/>
                    <a:pt x="7697" y="1707"/>
                    <a:pt x="7697" y="1707"/>
                  </a:cubicBezTo>
                  <a:cubicBezTo>
                    <a:pt x="7118" y="64"/>
                    <a:pt x="7118" y="64"/>
                    <a:pt x="7118" y="64"/>
                  </a:cubicBezTo>
                  <a:cubicBezTo>
                    <a:pt x="6279" y="64"/>
                    <a:pt x="6279" y="64"/>
                    <a:pt x="6279" y="64"/>
                  </a:cubicBezTo>
                  <a:cubicBezTo>
                    <a:pt x="6279" y="2581"/>
                    <a:pt x="6279" y="2581"/>
                    <a:pt x="6279" y="2581"/>
                  </a:cubicBezTo>
                  <a:cubicBezTo>
                    <a:pt x="6833" y="2581"/>
                    <a:pt x="6833" y="2581"/>
                    <a:pt x="6833" y="2581"/>
                  </a:cubicBezTo>
                  <a:cubicBezTo>
                    <a:pt x="6833" y="651"/>
                    <a:pt x="6833" y="651"/>
                    <a:pt x="6833" y="651"/>
                  </a:cubicBezTo>
                  <a:cubicBezTo>
                    <a:pt x="6840" y="651"/>
                    <a:pt x="6840" y="651"/>
                    <a:pt x="6840" y="651"/>
                  </a:cubicBezTo>
                  <a:cubicBezTo>
                    <a:pt x="7477" y="2581"/>
                    <a:pt x="7477" y="2581"/>
                    <a:pt x="7477" y="2581"/>
                  </a:cubicBezTo>
                  <a:cubicBezTo>
                    <a:pt x="7900" y="2581"/>
                    <a:pt x="7900" y="2581"/>
                    <a:pt x="7900" y="2581"/>
                  </a:cubicBezTo>
                  <a:cubicBezTo>
                    <a:pt x="8561" y="651"/>
                    <a:pt x="8561" y="651"/>
                    <a:pt x="8561" y="651"/>
                  </a:cubicBezTo>
                  <a:cubicBezTo>
                    <a:pt x="8568" y="651"/>
                    <a:pt x="8568" y="651"/>
                    <a:pt x="8568" y="651"/>
                  </a:cubicBezTo>
                  <a:cubicBezTo>
                    <a:pt x="8568" y="2581"/>
                    <a:pt x="8568" y="2581"/>
                    <a:pt x="8568" y="2581"/>
                  </a:cubicBezTo>
                  <a:cubicBezTo>
                    <a:pt x="9123" y="2581"/>
                    <a:pt x="9123" y="2581"/>
                    <a:pt x="9123" y="2581"/>
                  </a:cubicBezTo>
                  <a:cubicBezTo>
                    <a:pt x="9123" y="64"/>
                    <a:pt x="9123" y="64"/>
                    <a:pt x="9123" y="64"/>
                  </a:cubicBezTo>
                  <a:cubicBezTo>
                    <a:pt x="8287" y="64"/>
                    <a:pt x="8287" y="64"/>
                    <a:pt x="8287" y="64"/>
                  </a:cubicBezTo>
                  <a:lnTo>
                    <a:pt x="7704" y="1707"/>
                  </a:lnTo>
                  <a:close/>
                  <a:moveTo>
                    <a:pt x="13062" y="2411"/>
                  </a:moveTo>
                  <a:cubicBezTo>
                    <a:pt x="12415" y="2411"/>
                    <a:pt x="12028" y="1902"/>
                    <a:pt x="12028" y="1323"/>
                  </a:cubicBezTo>
                  <a:cubicBezTo>
                    <a:pt x="12028" y="743"/>
                    <a:pt x="12415" y="235"/>
                    <a:pt x="13062" y="235"/>
                  </a:cubicBezTo>
                  <a:cubicBezTo>
                    <a:pt x="13329" y="235"/>
                    <a:pt x="13610" y="402"/>
                    <a:pt x="13709" y="566"/>
                  </a:cubicBezTo>
                  <a:cubicBezTo>
                    <a:pt x="13933" y="399"/>
                    <a:pt x="13933" y="399"/>
                    <a:pt x="13933" y="399"/>
                  </a:cubicBezTo>
                  <a:cubicBezTo>
                    <a:pt x="13713" y="118"/>
                    <a:pt x="13375" y="0"/>
                    <a:pt x="13062" y="0"/>
                  </a:cubicBezTo>
                  <a:cubicBezTo>
                    <a:pt x="12312" y="0"/>
                    <a:pt x="11751" y="558"/>
                    <a:pt x="11751" y="1323"/>
                  </a:cubicBezTo>
                  <a:cubicBezTo>
                    <a:pt x="11751" y="2087"/>
                    <a:pt x="12312" y="2645"/>
                    <a:pt x="13062" y="2645"/>
                  </a:cubicBezTo>
                  <a:cubicBezTo>
                    <a:pt x="13478" y="2645"/>
                    <a:pt x="13827" y="2443"/>
                    <a:pt x="13994" y="2183"/>
                  </a:cubicBezTo>
                  <a:cubicBezTo>
                    <a:pt x="13784" y="2034"/>
                    <a:pt x="13784" y="2034"/>
                    <a:pt x="13784" y="2034"/>
                  </a:cubicBezTo>
                  <a:cubicBezTo>
                    <a:pt x="13595" y="2325"/>
                    <a:pt x="13325" y="2411"/>
                    <a:pt x="13062" y="2411"/>
                  </a:cubicBezTo>
                  <a:close/>
                  <a:moveTo>
                    <a:pt x="17870" y="1323"/>
                  </a:moveTo>
                  <a:cubicBezTo>
                    <a:pt x="17870" y="2087"/>
                    <a:pt x="17309" y="2645"/>
                    <a:pt x="16559" y="2645"/>
                  </a:cubicBezTo>
                  <a:cubicBezTo>
                    <a:pt x="15809" y="2645"/>
                    <a:pt x="15247" y="2087"/>
                    <a:pt x="15247" y="1323"/>
                  </a:cubicBezTo>
                  <a:cubicBezTo>
                    <a:pt x="15247" y="558"/>
                    <a:pt x="15809" y="0"/>
                    <a:pt x="16559" y="0"/>
                  </a:cubicBezTo>
                  <a:cubicBezTo>
                    <a:pt x="17309" y="0"/>
                    <a:pt x="17870" y="558"/>
                    <a:pt x="17870" y="1323"/>
                  </a:cubicBezTo>
                  <a:close/>
                  <a:moveTo>
                    <a:pt x="17593" y="1323"/>
                  </a:moveTo>
                  <a:cubicBezTo>
                    <a:pt x="17593" y="743"/>
                    <a:pt x="17206" y="235"/>
                    <a:pt x="16559" y="235"/>
                  </a:cubicBezTo>
                  <a:cubicBezTo>
                    <a:pt x="15912" y="235"/>
                    <a:pt x="15524" y="743"/>
                    <a:pt x="15524" y="1323"/>
                  </a:cubicBezTo>
                  <a:cubicBezTo>
                    <a:pt x="15524" y="1902"/>
                    <a:pt x="15912" y="2411"/>
                    <a:pt x="16559" y="2411"/>
                  </a:cubicBezTo>
                  <a:cubicBezTo>
                    <a:pt x="17206" y="2411"/>
                    <a:pt x="17593" y="1902"/>
                    <a:pt x="17593" y="1323"/>
                  </a:cubicBezTo>
                  <a:close/>
                  <a:moveTo>
                    <a:pt x="20919" y="1614"/>
                  </a:moveTo>
                  <a:cubicBezTo>
                    <a:pt x="20919" y="2339"/>
                    <a:pt x="20446" y="2411"/>
                    <a:pt x="20254" y="2411"/>
                  </a:cubicBezTo>
                  <a:cubicBezTo>
                    <a:pt x="20062" y="2411"/>
                    <a:pt x="19589" y="2339"/>
                    <a:pt x="19589" y="1614"/>
                  </a:cubicBezTo>
                  <a:cubicBezTo>
                    <a:pt x="19589" y="64"/>
                    <a:pt x="19589" y="64"/>
                    <a:pt x="19589" y="64"/>
                  </a:cubicBezTo>
                  <a:cubicBezTo>
                    <a:pt x="19333" y="64"/>
                    <a:pt x="19333" y="64"/>
                    <a:pt x="19333" y="64"/>
                  </a:cubicBezTo>
                  <a:cubicBezTo>
                    <a:pt x="19333" y="1643"/>
                    <a:pt x="19333" y="1643"/>
                    <a:pt x="19333" y="1643"/>
                  </a:cubicBezTo>
                  <a:cubicBezTo>
                    <a:pt x="19333" y="2062"/>
                    <a:pt x="19500" y="2645"/>
                    <a:pt x="20254" y="2645"/>
                  </a:cubicBezTo>
                  <a:cubicBezTo>
                    <a:pt x="21007" y="2645"/>
                    <a:pt x="21175" y="2062"/>
                    <a:pt x="21175" y="1643"/>
                  </a:cubicBezTo>
                  <a:cubicBezTo>
                    <a:pt x="21175" y="64"/>
                    <a:pt x="21175" y="64"/>
                    <a:pt x="21175" y="64"/>
                  </a:cubicBezTo>
                  <a:cubicBezTo>
                    <a:pt x="20919" y="64"/>
                    <a:pt x="20919" y="64"/>
                    <a:pt x="20919" y="64"/>
                  </a:cubicBezTo>
                  <a:lnTo>
                    <a:pt x="20919" y="1614"/>
                  </a:lnTo>
                  <a:close/>
                  <a:moveTo>
                    <a:pt x="24777" y="2197"/>
                  </a:moveTo>
                  <a:cubicBezTo>
                    <a:pt x="24770" y="2197"/>
                    <a:pt x="24770" y="2197"/>
                    <a:pt x="24770" y="2197"/>
                  </a:cubicBezTo>
                  <a:cubicBezTo>
                    <a:pt x="23270" y="64"/>
                    <a:pt x="23270" y="64"/>
                    <a:pt x="23270" y="64"/>
                  </a:cubicBezTo>
                  <a:cubicBezTo>
                    <a:pt x="22950" y="64"/>
                    <a:pt x="22950" y="64"/>
                    <a:pt x="22950" y="64"/>
                  </a:cubicBezTo>
                  <a:cubicBezTo>
                    <a:pt x="22950" y="2581"/>
                    <a:pt x="22950" y="2581"/>
                    <a:pt x="22950" y="2581"/>
                  </a:cubicBezTo>
                  <a:cubicBezTo>
                    <a:pt x="23206" y="2581"/>
                    <a:pt x="23206" y="2581"/>
                    <a:pt x="23206" y="2581"/>
                  </a:cubicBezTo>
                  <a:cubicBezTo>
                    <a:pt x="23206" y="427"/>
                    <a:pt x="23206" y="427"/>
                    <a:pt x="23206" y="427"/>
                  </a:cubicBezTo>
                  <a:cubicBezTo>
                    <a:pt x="23213" y="427"/>
                    <a:pt x="23213" y="427"/>
                    <a:pt x="23213" y="427"/>
                  </a:cubicBezTo>
                  <a:cubicBezTo>
                    <a:pt x="24713" y="2581"/>
                    <a:pt x="24713" y="2581"/>
                    <a:pt x="24713" y="2581"/>
                  </a:cubicBezTo>
                  <a:cubicBezTo>
                    <a:pt x="25033" y="2581"/>
                    <a:pt x="25033" y="2581"/>
                    <a:pt x="25033" y="2581"/>
                  </a:cubicBezTo>
                  <a:cubicBezTo>
                    <a:pt x="25033" y="64"/>
                    <a:pt x="25033" y="64"/>
                    <a:pt x="25033" y="64"/>
                  </a:cubicBezTo>
                  <a:cubicBezTo>
                    <a:pt x="24777" y="64"/>
                    <a:pt x="24777" y="64"/>
                    <a:pt x="24777" y="64"/>
                  </a:cubicBezTo>
                  <a:lnTo>
                    <a:pt x="24777" y="2197"/>
                  </a:lnTo>
                  <a:close/>
                  <a:moveTo>
                    <a:pt x="27993" y="2411"/>
                  </a:moveTo>
                  <a:cubicBezTo>
                    <a:pt x="27346" y="2411"/>
                    <a:pt x="26958" y="1902"/>
                    <a:pt x="26958" y="1323"/>
                  </a:cubicBezTo>
                  <a:cubicBezTo>
                    <a:pt x="26958" y="743"/>
                    <a:pt x="27346" y="235"/>
                    <a:pt x="27993" y="235"/>
                  </a:cubicBezTo>
                  <a:cubicBezTo>
                    <a:pt x="28259" y="235"/>
                    <a:pt x="28540" y="402"/>
                    <a:pt x="28640" y="566"/>
                  </a:cubicBezTo>
                  <a:cubicBezTo>
                    <a:pt x="28864" y="399"/>
                    <a:pt x="28864" y="399"/>
                    <a:pt x="28864" y="399"/>
                  </a:cubicBezTo>
                  <a:cubicBezTo>
                    <a:pt x="28643" y="118"/>
                    <a:pt x="28306" y="0"/>
                    <a:pt x="27993" y="0"/>
                  </a:cubicBezTo>
                  <a:cubicBezTo>
                    <a:pt x="27243" y="0"/>
                    <a:pt x="26681" y="558"/>
                    <a:pt x="26681" y="1323"/>
                  </a:cubicBezTo>
                  <a:cubicBezTo>
                    <a:pt x="26681" y="2087"/>
                    <a:pt x="27243" y="2645"/>
                    <a:pt x="27993" y="2645"/>
                  </a:cubicBezTo>
                  <a:cubicBezTo>
                    <a:pt x="28409" y="2645"/>
                    <a:pt x="28757" y="2443"/>
                    <a:pt x="28924" y="2183"/>
                  </a:cubicBezTo>
                  <a:cubicBezTo>
                    <a:pt x="28714" y="2034"/>
                    <a:pt x="28714" y="2034"/>
                    <a:pt x="28714" y="2034"/>
                  </a:cubicBezTo>
                  <a:cubicBezTo>
                    <a:pt x="28526" y="2325"/>
                    <a:pt x="28256" y="2411"/>
                    <a:pt x="27993" y="2411"/>
                  </a:cubicBezTo>
                  <a:close/>
                  <a:moveTo>
                    <a:pt x="30490" y="2581"/>
                  </a:moveTo>
                  <a:cubicBezTo>
                    <a:pt x="30746" y="2581"/>
                    <a:pt x="30746" y="2581"/>
                    <a:pt x="30746" y="2581"/>
                  </a:cubicBezTo>
                  <a:cubicBezTo>
                    <a:pt x="30746" y="64"/>
                    <a:pt x="30746" y="64"/>
                    <a:pt x="30746" y="64"/>
                  </a:cubicBezTo>
                  <a:cubicBezTo>
                    <a:pt x="30490" y="64"/>
                    <a:pt x="30490" y="64"/>
                    <a:pt x="30490" y="64"/>
                  </a:cubicBezTo>
                  <a:lnTo>
                    <a:pt x="30490" y="2581"/>
                  </a:lnTo>
                  <a:close/>
                  <a:moveTo>
                    <a:pt x="32821" y="2347"/>
                  </a:moveTo>
                  <a:cubicBezTo>
                    <a:pt x="32821" y="64"/>
                    <a:pt x="32821" y="64"/>
                    <a:pt x="32821" y="64"/>
                  </a:cubicBezTo>
                  <a:cubicBezTo>
                    <a:pt x="32565" y="64"/>
                    <a:pt x="32565" y="64"/>
                    <a:pt x="32565" y="64"/>
                  </a:cubicBezTo>
                  <a:cubicBezTo>
                    <a:pt x="32565" y="2581"/>
                    <a:pt x="32565" y="2581"/>
                    <a:pt x="32565" y="2581"/>
                  </a:cubicBezTo>
                  <a:cubicBezTo>
                    <a:pt x="33994" y="2581"/>
                    <a:pt x="33994" y="2581"/>
                    <a:pt x="33994" y="2581"/>
                  </a:cubicBezTo>
                  <a:cubicBezTo>
                    <a:pt x="33994" y="2347"/>
                    <a:pt x="33994" y="2347"/>
                    <a:pt x="33994" y="2347"/>
                  </a:cubicBezTo>
                  <a:lnTo>
                    <a:pt x="32821" y="23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6"/>
            <p:cNvSpPr>
              <a:spLocks noChangeAspect="1"/>
            </p:cNvSpPr>
            <p:nvPr/>
          </p:nvSpPr>
          <p:spPr bwMode="auto">
            <a:xfrm>
              <a:off x="2498725" y="141288"/>
              <a:ext cx="546100" cy="534988"/>
            </a:xfrm>
            <a:custGeom>
              <a:avLst/>
              <a:gdLst>
                <a:gd name="T0" fmla="*/ 209 w 344"/>
                <a:gd name="T1" fmla="*/ 0 h 337"/>
                <a:gd name="T2" fmla="*/ 0 w 344"/>
                <a:gd name="T3" fmla="*/ 0 h 337"/>
                <a:gd name="T4" fmla="*/ 0 w 344"/>
                <a:gd name="T5" fmla="*/ 337 h 337"/>
                <a:gd name="T6" fmla="*/ 344 w 344"/>
                <a:gd name="T7" fmla="*/ 337 h 337"/>
                <a:gd name="T8" fmla="*/ 344 w 344"/>
                <a:gd name="T9" fmla="*/ 133 h 337"/>
                <a:gd name="T10" fmla="*/ 209 w 344"/>
                <a:gd name="T11" fmla="*/ 133 h 337"/>
                <a:gd name="T12" fmla="*/ 209 w 344"/>
                <a:gd name="T13" fmla="*/ 0 h 337"/>
                <a:gd name="T14" fmla="*/ 209 w 344"/>
                <a:gd name="T15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37">
                  <a:moveTo>
                    <a:pt x="209" y="0"/>
                  </a:moveTo>
                  <a:lnTo>
                    <a:pt x="0" y="0"/>
                  </a:lnTo>
                  <a:lnTo>
                    <a:pt x="0" y="337"/>
                  </a:lnTo>
                  <a:lnTo>
                    <a:pt x="344" y="337"/>
                  </a:lnTo>
                  <a:lnTo>
                    <a:pt x="344" y="133"/>
                  </a:lnTo>
                  <a:lnTo>
                    <a:pt x="209" y="133"/>
                  </a:lnTo>
                  <a:lnTo>
                    <a:pt x="209" y="0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F89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7"/>
            <p:cNvSpPr>
              <a:spLocks noChangeAspect="1"/>
            </p:cNvSpPr>
            <p:nvPr/>
          </p:nvSpPr>
          <p:spPr bwMode="auto">
            <a:xfrm>
              <a:off x="2830513" y="0"/>
              <a:ext cx="350838" cy="352425"/>
            </a:xfrm>
            <a:custGeom>
              <a:avLst/>
              <a:gdLst>
                <a:gd name="T0" fmla="*/ 221 w 221"/>
                <a:gd name="T1" fmla="*/ 0 h 222"/>
                <a:gd name="T2" fmla="*/ 0 w 221"/>
                <a:gd name="T3" fmla="*/ 0 h 222"/>
                <a:gd name="T4" fmla="*/ 0 w 221"/>
                <a:gd name="T5" fmla="*/ 89 h 222"/>
                <a:gd name="T6" fmla="*/ 135 w 221"/>
                <a:gd name="T7" fmla="*/ 89 h 222"/>
                <a:gd name="T8" fmla="*/ 135 w 221"/>
                <a:gd name="T9" fmla="*/ 222 h 222"/>
                <a:gd name="T10" fmla="*/ 221 w 221"/>
                <a:gd name="T11" fmla="*/ 222 h 222"/>
                <a:gd name="T12" fmla="*/ 221 w 221"/>
                <a:gd name="T13" fmla="*/ 0 h 222"/>
                <a:gd name="T14" fmla="*/ 221 w 221"/>
                <a:gd name="T15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22">
                  <a:moveTo>
                    <a:pt x="221" y="0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89"/>
                  </a:lnTo>
                  <a:lnTo>
                    <a:pt x="135" y="222"/>
                  </a:lnTo>
                  <a:lnTo>
                    <a:pt x="221" y="222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16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5" name="Rectangle 24"/>
          <p:cNvSpPr/>
          <p:nvPr userDrawn="1"/>
        </p:nvSpPr>
        <p:spPr>
          <a:xfrm>
            <a:off x="0" y="5092700"/>
            <a:ext cx="9144000" cy="617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1117699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1" r:id="rId1"/>
    <p:sldLayoutId id="2147484052" r:id="rId2"/>
    <p:sldLayoutId id="2147484062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685" rtl="0" eaLnBrk="1" latinLnBrk="0" hangingPunct="1">
        <a:lnSpc>
          <a:spcPct val="80000"/>
        </a:lnSpc>
        <a:spcBef>
          <a:spcPct val="0"/>
        </a:spcBef>
        <a:buNone/>
        <a:defRPr sz="28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13" indent="-274313" algn="l" defTabSz="913685" rtl="0" eaLnBrk="1" latinLnBrk="0" hangingPunct="1">
        <a:spcBef>
          <a:spcPct val="20000"/>
        </a:spcBef>
        <a:buClr>
          <a:schemeClr val="accent1"/>
        </a:buClr>
        <a:buSzPct val="80000"/>
        <a:buFont typeface="Wingdings 3" panose="05040102010807070707" pitchFamily="18" charset="2"/>
        <a:buChar char="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61" indent="-22859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44" indent="-176209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114" indent="-15398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125410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628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47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31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156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8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2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6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0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054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89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731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>
            <a:grpSpLocks noChangeAspect="1"/>
          </p:cNvGrpSpPr>
          <p:nvPr userDrawn="1"/>
        </p:nvGrpSpPr>
        <p:grpSpPr bwMode="auto">
          <a:xfrm>
            <a:off x="8306382" y="4889712"/>
            <a:ext cx="703200" cy="187249"/>
            <a:chOff x="118" y="883"/>
            <a:chExt cx="5528" cy="1472"/>
          </a:xfrm>
        </p:grpSpPr>
        <p:sp>
          <p:nvSpPr>
            <p:cNvPr id="19" name="Freeform 5"/>
            <p:cNvSpPr>
              <a:spLocks noChangeAspect="1" noEditPoints="1"/>
            </p:cNvSpPr>
            <p:nvPr/>
          </p:nvSpPr>
          <p:spPr bwMode="auto">
            <a:xfrm>
              <a:off x="118" y="883"/>
              <a:ext cx="1469" cy="1472"/>
            </a:xfrm>
            <a:custGeom>
              <a:avLst/>
              <a:gdLst>
                <a:gd name="T0" fmla="*/ 408 w 621"/>
                <a:gd name="T1" fmla="*/ 507 h 620"/>
                <a:gd name="T2" fmla="*/ 445 w 621"/>
                <a:gd name="T3" fmla="*/ 538 h 620"/>
                <a:gd name="T4" fmla="*/ 439 w 621"/>
                <a:gd name="T5" fmla="*/ 593 h 620"/>
                <a:gd name="T6" fmla="*/ 386 w 621"/>
                <a:gd name="T7" fmla="*/ 564 h 620"/>
                <a:gd name="T8" fmla="*/ 575 w 621"/>
                <a:gd name="T9" fmla="*/ 331 h 620"/>
                <a:gd name="T10" fmla="*/ 621 w 621"/>
                <a:gd name="T11" fmla="*/ 321 h 620"/>
                <a:gd name="T12" fmla="*/ 621 w 621"/>
                <a:gd name="T13" fmla="*/ 299 h 620"/>
                <a:gd name="T14" fmla="*/ 575 w 621"/>
                <a:gd name="T15" fmla="*/ 289 h 620"/>
                <a:gd name="T16" fmla="*/ 524 w 621"/>
                <a:gd name="T17" fmla="*/ 257 h 620"/>
                <a:gd name="T18" fmla="*/ 556 w 621"/>
                <a:gd name="T19" fmla="*/ 208 h 620"/>
                <a:gd name="T20" fmla="*/ 583 w 621"/>
                <a:gd name="T21" fmla="*/ 161 h 620"/>
                <a:gd name="T22" fmla="*/ 550 w 621"/>
                <a:gd name="T23" fmla="*/ 198 h 620"/>
                <a:gd name="T24" fmla="*/ 487 w 621"/>
                <a:gd name="T25" fmla="*/ 177 h 620"/>
                <a:gd name="T26" fmla="*/ 528 w 621"/>
                <a:gd name="T27" fmla="*/ 159 h 620"/>
                <a:gd name="T28" fmla="*/ 537 w 621"/>
                <a:gd name="T29" fmla="*/ 98 h 620"/>
                <a:gd name="T30" fmla="*/ 510 w 621"/>
                <a:gd name="T31" fmla="*/ 137 h 620"/>
                <a:gd name="T32" fmla="*/ 454 w 621"/>
                <a:gd name="T33" fmla="*/ 143 h 620"/>
                <a:gd name="T34" fmla="*/ 491 w 621"/>
                <a:gd name="T35" fmla="*/ 116 h 620"/>
                <a:gd name="T36" fmla="*/ 478 w 621"/>
                <a:gd name="T37" fmla="*/ 48 h 620"/>
                <a:gd name="T38" fmla="*/ 416 w 621"/>
                <a:gd name="T39" fmla="*/ 66 h 620"/>
                <a:gd name="T40" fmla="*/ 387 w 621"/>
                <a:gd name="T41" fmla="*/ 104 h 620"/>
                <a:gd name="T42" fmla="*/ 384 w 621"/>
                <a:gd name="T43" fmla="*/ 55 h 620"/>
                <a:gd name="T44" fmla="*/ 365 w 621"/>
                <a:gd name="T45" fmla="*/ 4 h 620"/>
                <a:gd name="T46" fmla="*/ 344 w 621"/>
                <a:gd name="T47" fmla="*/ 47 h 620"/>
                <a:gd name="T48" fmla="*/ 325 w 621"/>
                <a:gd name="T49" fmla="*/ 91 h 620"/>
                <a:gd name="T50" fmla="*/ 319 w 621"/>
                <a:gd name="T51" fmla="*/ 45 h 620"/>
                <a:gd name="T52" fmla="*/ 311 w 621"/>
                <a:gd name="T53" fmla="*/ 0 h 620"/>
                <a:gd name="T54" fmla="*/ 311 w 621"/>
                <a:gd name="T55" fmla="*/ 620 h 620"/>
                <a:gd name="T56" fmla="*/ 317 w 621"/>
                <a:gd name="T57" fmla="*/ 575 h 620"/>
                <a:gd name="T58" fmla="*/ 338 w 621"/>
                <a:gd name="T59" fmla="*/ 619 h 620"/>
                <a:gd name="T60" fmla="*/ 353 w 621"/>
                <a:gd name="T61" fmla="*/ 571 h 620"/>
                <a:gd name="T62" fmla="*/ 331 w 621"/>
                <a:gd name="T63" fmla="*/ 529 h 620"/>
                <a:gd name="T64" fmla="*/ 311 w 621"/>
                <a:gd name="T65" fmla="*/ 484 h 620"/>
                <a:gd name="T66" fmla="*/ 311 w 621"/>
                <a:gd name="T67" fmla="*/ 136 h 620"/>
                <a:gd name="T68" fmla="*/ 409 w 621"/>
                <a:gd name="T69" fmla="*/ 113 h 620"/>
                <a:gd name="T70" fmla="*/ 403 w 621"/>
                <a:gd name="T71" fmla="*/ 162 h 620"/>
                <a:gd name="T72" fmla="*/ 512 w 621"/>
                <a:gd name="T73" fmla="*/ 222 h 620"/>
                <a:gd name="T74" fmla="*/ 477 w 621"/>
                <a:gd name="T75" fmla="*/ 258 h 620"/>
                <a:gd name="T76" fmla="*/ 459 w 621"/>
                <a:gd name="T77" fmla="*/ 402 h 620"/>
                <a:gd name="T78" fmla="*/ 479 w 621"/>
                <a:gd name="T79" fmla="*/ 451 h 620"/>
                <a:gd name="T80" fmla="*/ 504 w 621"/>
                <a:gd name="T81" fmla="*/ 491 h 620"/>
                <a:gd name="T82" fmla="*/ 572 w 621"/>
                <a:gd name="T83" fmla="*/ 478 h 620"/>
                <a:gd name="T84" fmla="*/ 553 w 621"/>
                <a:gd name="T85" fmla="*/ 417 h 620"/>
                <a:gd name="T86" fmla="*/ 518 w 621"/>
                <a:gd name="T87" fmla="*/ 384 h 620"/>
                <a:gd name="T88" fmla="*/ 565 w 621"/>
                <a:gd name="T89" fmla="*/ 385 h 620"/>
                <a:gd name="T90" fmla="*/ 616 w 621"/>
                <a:gd name="T91" fmla="*/ 365 h 620"/>
                <a:gd name="T92" fmla="*/ 574 w 621"/>
                <a:gd name="T93" fmla="*/ 346 h 620"/>
                <a:gd name="T94" fmla="*/ 530 w 621"/>
                <a:gd name="T95" fmla="*/ 328 h 620"/>
                <a:gd name="T96" fmla="*/ 483 w 621"/>
                <a:gd name="T97" fmla="*/ 510 h 620"/>
                <a:gd name="T98" fmla="*/ 430 w 621"/>
                <a:gd name="T99" fmla="*/ 494 h 620"/>
                <a:gd name="T100" fmla="*/ 387 w 621"/>
                <a:gd name="T101" fmla="*/ 467 h 620"/>
                <a:gd name="T102" fmla="*/ 425 w 621"/>
                <a:gd name="T103" fmla="*/ 498 h 620"/>
                <a:gd name="T104" fmla="*/ 477 w 621"/>
                <a:gd name="T105" fmla="*/ 517 h 620"/>
                <a:gd name="T106" fmla="*/ 522 w 621"/>
                <a:gd name="T107" fmla="*/ 538 h 620"/>
                <a:gd name="T108" fmla="*/ 483 w 621"/>
                <a:gd name="T109" fmla="*/ 51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1" h="620">
                  <a:moveTo>
                    <a:pt x="373" y="521"/>
                  </a:moveTo>
                  <a:cubicBezTo>
                    <a:pt x="385" y="517"/>
                    <a:pt x="397" y="512"/>
                    <a:pt x="408" y="507"/>
                  </a:cubicBezTo>
                  <a:cubicBezTo>
                    <a:pt x="431" y="546"/>
                    <a:pt x="431" y="546"/>
                    <a:pt x="431" y="546"/>
                  </a:cubicBezTo>
                  <a:cubicBezTo>
                    <a:pt x="432" y="546"/>
                    <a:pt x="444" y="539"/>
                    <a:pt x="445" y="538"/>
                  </a:cubicBezTo>
                  <a:cubicBezTo>
                    <a:pt x="468" y="577"/>
                    <a:pt x="468" y="577"/>
                    <a:pt x="468" y="577"/>
                  </a:cubicBezTo>
                  <a:cubicBezTo>
                    <a:pt x="459" y="583"/>
                    <a:pt x="449" y="588"/>
                    <a:pt x="439" y="593"/>
                  </a:cubicBezTo>
                  <a:cubicBezTo>
                    <a:pt x="420" y="552"/>
                    <a:pt x="420" y="552"/>
                    <a:pt x="420" y="552"/>
                  </a:cubicBezTo>
                  <a:cubicBezTo>
                    <a:pt x="409" y="557"/>
                    <a:pt x="398" y="561"/>
                    <a:pt x="386" y="564"/>
                  </a:cubicBezTo>
                  <a:lnTo>
                    <a:pt x="373" y="521"/>
                  </a:lnTo>
                  <a:close/>
                  <a:moveTo>
                    <a:pt x="575" y="331"/>
                  </a:moveTo>
                  <a:cubicBezTo>
                    <a:pt x="575" y="328"/>
                    <a:pt x="575" y="324"/>
                    <a:pt x="576" y="320"/>
                  </a:cubicBezTo>
                  <a:cubicBezTo>
                    <a:pt x="621" y="321"/>
                    <a:pt x="621" y="321"/>
                    <a:pt x="621" y="321"/>
                  </a:cubicBezTo>
                  <a:cubicBezTo>
                    <a:pt x="621" y="317"/>
                    <a:pt x="621" y="314"/>
                    <a:pt x="621" y="310"/>
                  </a:cubicBezTo>
                  <a:cubicBezTo>
                    <a:pt x="621" y="306"/>
                    <a:pt x="621" y="303"/>
                    <a:pt x="621" y="299"/>
                  </a:cubicBezTo>
                  <a:cubicBezTo>
                    <a:pt x="576" y="301"/>
                    <a:pt x="576" y="301"/>
                    <a:pt x="576" y="301"/>
                  </a:cubicBezTo>
                  <a:cubicBezTo>
                    <a:pt x="575" y="297"/>
                    <a:pt x="575" y="293"/>
                    <a:pt x="575" y="289"/>
                  </a:cubicBezTo>
                  <a:cubicBezTo>
                    <a:pt x="530" y="292"/>
                    <a:pt x="530" y="292"/>
                    <a:pt x="530" y="292"/>
                  </a:cubicBezTo>
                  <a:cubicBezTo>
                    <a:pt x="529" y="280"/>
                    <a:pt x="527" y="268"/>
                    <a:pt x="524" y="257"/>
                  </a:cubicBezTo>
                  <a:cubicBezTo>
                    <a:pt x="568" y="246"/>
                    <a:pt x="568" y="246"/>
                    <a:pt x="568" y="246"/>
                  </a:cubicBezTo>
                  <a:cubicBezTo>
                    <a:pt x="565" y="233"/>
                    <a:pt x="561" y="220"/>
                    <a:pt x="556" y="208"/>
                  </a:cubicBezTo>
                  <a:cubicBezTo>
                    <a:pt x="597" y="191"/>
                    <a:pt x="597" y="191"/>
                    <a:pt x="597" y="191"/>
                  </a:cubicBezTo>
                  <a:cubicBezTo>
                    <a:pt x="593" y="181"/>
                    <a:pt x="588" y="171"/>
                    <a:pt x="583" y="161"/>
                  </a:cubicBezTo>
                  <a:cubicBezTo>
                    <a:pt x="543" y="183"/>
                    <a:pt x="543" y="183"/>
                    <a:pt x="543" y="183"/>
                  </a:cubicBezTo>
                  <a:cubicBezTo>
                    <a:pt x="545" y="188"/>
                    <a:pt x="548" y="193"/>
                    <a:pt x="550" y="198"/>
                  </a:cubicBezTo>
                  <a:cubicBezTo>
                    <a:pt x="510" y="217"/>
                    <a:pt x="510" y="217"/>
                    <a:pt x="510" y="217"/>
                  </a:cubicBezTo>
                  <a:cubicBezTo>
                    <a:pt x="503" y="202"/>
                    <a:pt x="497" y="190"/>
                    <a:pt x="487" y="177"/>
                  </a:cubicBezTo>
                  <a:cubicBezTo>
                    <a:pt x="522" y="150"/>
                    <a:pt x="522" y="150"/>
                    <a:pt x="522" y="150"/>
                  </a:cubicBezTo>
                  <a:cubicBezTo>
                    <a:pt x="525" y="153"/>
                    <a:pt x="525" y="155"/>
                    <a:pt x="528" y="159"/>
                  </a:cubicBezTo>
                  <a:cubicBezTo>
                    <a:pt x="565" y="133"/>
                    <a:pt x="565" y="133"/>
                    <a:pt x="565" y="133"/>
                  </a:cubicBezTo>
                  <a:cubicBezTo>
                    <a:pt x="557" y="120"/>
                    <a:pt x="547" y="109"/>
                    <a:pt x="537" y="98"/>
                  </a:cubicBezTo>
                  <a:cubicBezTo>
                    <a:pt x="504" y="129"/>
                    <a:pt x="504" y="129"/>
                    <a:pt x="504" y="129"/>
                  </a:cubicBezTo>
                  <a:cubicBezTo>
                    <a:pt x="507" y="133"/>
                    <a:pt x="507" y="133"/>
                    <a:pt x="510" y="137"/>
                  </a:cubicBezTo>
                  <a:cubicBezTo>
                    <a:pt x="476" y="166"/>
                    <a:pt x="476" y="166"/>
                    <a:pt x="476" y="166"/>
                  </a:cubicBezTo>
                  <a:cubicBezTo>
                    <a:pt x="468" y="156"/>
                    <a:pt x="463" y="151"/>
                    <a:pt x="454" y="143"/>
                  </a:cubicBezTo>
                  <a:cubicBezTo>
                    <a:pt x="483" y="109"/>
                    <a:pt x="483" y="109"/>
                    <a:pt x="483" y="109"/>
                  </a:cubicBezTo>
                  <a:cubicBezTo>
                    <a:pt x="486" y="112"/>
                    <a:pt x="488" y="114"/>
                    <a:pt x="491" y="116"/>
                  </a:cubicBezTo>
                  <a:cubicBezTo>
                    <a:pt x="522" y="82"/>
                    <a:pt x="522" y="82"/>
                    <a:pt x="522" y="82"/>
                  </a:cubicBezTo>
                  <a:cubicBezTo>
                    <a:pt x="508" y="70"/>
                    <a:pt x="493" y="58"/>
                    <a:pt x="478" y="48"/>
                  </a:cubicBezTo>
                  <a:cubicBezTo>
                    <a:pt x="453" y="87"/>
                    <a:pt x="453" y="87"/>
                    <a:pt x="453" y="87"/>
                  </a:cubicBezTo>
                  <a:cubicBezTo>
                    <a:pt x="440" y="78"/>
                    <a:pt x="431" y="72"/>
                    <a:pt x="416" y="66"/>
                  </a:cubicBezTo>
                  <a:cubicBezTo>
                    <a:pt x="399" y="108"/>
                    <a:pt x="399" y="108"/>
                    <a:pt x="399" y="108"/>
                  </a:cubicBezTo>
                  <a:cubicBezTo>
                    <a:pt x="397" y="107"/>
                    <a:pt x="389" y="104"/>
                    <a:pt x="387" y="104"/>
                  </a:cubicBezTo>
                  <a:cubicBezTo>
                    <a:pt x="403" y="61"/>
                    <a:pt x="403" y="61"/>
                    <a:pt x="403" y="61"/>
                  </a:cubicBezTo>
                  <a:cubicBezTo>
                    <a:pt x="397" y="59"/>
                    <a:pt x="391" y="57"/>
                    <a:pt x="384" y="55"/>
                  </a:cubicBezTo>
                  <a:cubicBezTo>
                    <a:pt x="397" y="12"/>
                    <a:pt x="397" y="12"/>
                    <a:pt x="397" y="12"/>
                  </a:cubicBezTo>
                  <a:cubicBezTo>
                    <a:pt x="386" y="9"/>
                    <a:pt x="376" y="6"/>
                    <a:pt x="365" y="4"/>
                  </a:cubicBezTo>
                  <a:cubicBezTo>
                    <a:pt x="357" y="49"/>
                    <a:pt x="357" y="49"/>
                    <a:pt x="357" y="49"/>
                  </a:cubicBezTo>
                  <a:cubicBezTo>
                    <a:pt x="353" y="48"/>
                    <a:pt x="348" y="47"/>
                    <a:pt x="344" y="47"/>
                  </a:cubicBezTo>
                  <a:cubicBezTo>
                    <a:pt x="338" y="92"/>
                    <a:pt x="338" y="92"/>
                    <a:pt x="338" y="92"/>
                  </a:cubicBezTo>
                  <a:cubicBezTo>
                    <a:pt x="336" y="91"/>
                    <a:pt x="327" y="91"/>
                    <a:pt x="325" y="91"/>
                  </a:cubicBezTo>
                  <a:cubicBezTo>
                    <a:pt x="329" y="46"/>
                    <a:pt x="329" y="46"/>
                    <a:pt x="329" y="46"/>
                  </a:cubicBezTo>
                  <a:cubicBezTo>
                    <a:pt x="324" y="45"/>
                    <a:pt x="325" y="45"/>
                    <a:pt x="319" y="45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17" y="0"/>
                    <a:pt x="314" y="0"/>
                    <a:pt x="311" y="0"/>
                  </a:cubicBezTo>
                  <a:cubicBezTo>
                    <a:pt x="139" y="0"/>
                    <a:pt x="0" y="139"/>
                    <a:pt x="0" y="310"/>
                  </a:cubicBezTo>
                  <a:cubicBezTo>
                    <a:pt x="0" y="481"/>
                    <a:pt x="139" y="620"/>
                    <a:pt x="311" y="620"/>
                  </a:cubicBezTo>
                  <a:cubicBezTo>
                    <a:pt x="314" y="620"/>
                    <a:pt x="315" y="620"/>
                    <a:pt x="318" y="620"/>
                  </a:cubicBezTo>
                  <a:cubicBezTo>
                    <a:pt x="317" y="575"/>
                    <a:pt x="317" y="575"/>
                    <a:pt x="317" y="575"/>
                  </a:cubicBezTo>
                  <a:cubicBezTo>
                    <a:pt x="322" y="575"/>
                    <a:pt x="328" y="575"/>
                    <a:pt x="333" y="574"/>
                  </a:cubicBezTo>
                  <a:cubicBezTo>
                    <a:pt x="338" y="619"/>
                    <a:pt x="338" y="619"/>
                    <a:pt x="338" y="619"/>
                  </a:cubicBezTo>
                  <a:cubicBezTo>
                    <a:pt x="340" y="619"/>
                    <a:pt x="361" y="616"/>
                    <a:pt x="363" y="616"/>
                  </a:cubicBezTo>
                  <a:cubicBezTo>
                    <a:pt x="353" y="571"/>
                    <a:pt x="353" y="571"/>
                    <a:pt x="353" y="571"/>
                  </a:cubicBezTo>
                  <a:cubicBezTo>
                    <a:pt x="352" y="571"/>
                    <a:pt x="341" y="573"/>
                    <a:pt x="335" y="574"/>
                  </a:cubicBezTo>
                  <a:cubicBezTo>
                    <a:pt x="331" y="529"/>
                    <a:pt x="331" y="529"/>
                    <a:pt x="331" y="529"/>
                  </a:cubicBezTo>
                  <a:cubicBezTo>
                    <a:pt x="324" y="529"/>
                    <a:pt x="317" y="530"/>
                    <a:pt x="311" y="530"/>
                  </a:cubicBezTo>
                  <a:cubicBezTo>
                    <a:pt x="311" y="484"/>
                    <a:pt x="311" y="484"/>
                    <a:pt x="311" y="484"/>
                  </a:cubicBezTo>
                  <a:cubicBezTo>
                    <a:pt x="214" y="484"/>
                    <a:pt x="136" y="406"/>
                    <a:pt x="136" y="310"/>
                  </a:cubicBezTo>
                  <a:cubicBezTo>
                    <a:pt x="136" y="214"/>
                    <a:pt x="214" y="136"/>
                    <a:pt x="311" y="136"/>
                  </a:cubicBezTo>
                  <a:cubicBezTo>
                    <a:pt x="338" y="136"/>
                    <a:pt x="364" y="142"/>
                    <a:pt x="388" y="154"/>
                  </a:cubicBezTo>
                  <a:cubicBezTo>
                    <a:pt x="409" y="113"/>
                    <a:pt x="409" y="113"/>
                    <a:pt x="409" y="113"/>
                  </a:cubicBezTo>
                  <a:cubicBezTo>
                    <a:pt x="412" y="115"/>
                    <a:pt x="421" y="121"/>
                    <a:pt x="424" y="122"/>
                  </a:cubicBezTo>
                  <a:cubicBezTo>
                    <a:pt x="403" y="162"/>
                    <a:pt x="403" y="162"/>
                    <a:pt x="403" y="162"/>
                  </a:cubicBezTo>
                  <a:cubicBezTo>
                    <a:pt x="433" y="181"/>
                    <a:pt x="456" y="208"/>
                    <a:pt x="470" y="240"/>
                  </a:cubicBezTo>
                  <a:cubicBezTo>
                    <a:pt x="512" y="222"/>
                    <a:pt x="512" y="222"/>
                    <a:pt x="512" y="222"/>
                  </a:cubicBezTo>
                  <a:cubicBezTo>
                    <a:pt x="513" y="225"/>
                    <a:pt x="518" y="237"/>
                    <a:pt x="519" y="241"/>
                  </a:cubicBezTo>
                  <a:cubicBezTo>
                    <a:pt x="477" y="258"/>
                    <a:pt x="477" y="258"/>
                    <a:pt x="477" y="258"/>
                  </a:cubicBezTo>
                  <a:cubicBezTo>
                    <a:pt x="482" y="274"/>
                    <a:pt x="485" y="292"/>
                    <a:pt x="485" y="310"/>
                  </a:cubicBezTo>
                  <a:cubicBezTo>
                    <a:pt x="485" y="343"/>
                    <a:pt x="476" y="375"/>
                    <a:pt x="459" y="402"/>
                  </a:cubicBezTo>
                  <a:cubicBezTo>
                    <a:pt x="497" y="426"/>
                    <a:pt x="497" y="426"/>
                    <a:pt x="497" y="426"/>
                  </a:cubicBezTo>
                  <a:cubicBezTo>
                    <a:pt x="491" y="435"/>
                    <a:pt x="486" y="443"/>
                    <a:pt x="479" y="451"/>
                  </a:cubicBezTo>
                  <a:cubicBezTo>
                    <a:pt x="513" y="480"/>
                    <a:pt x="513" y="480"/>
                    <a:pt x="513" y="480"/>
                  </a:cubicBezTo>
                  <a:cubicBezTo>
                    <a:pt x="510" y="484"/>
                    <a:pt x="507" y="487"/>
                    <a:pt x="504" y="491"/>
                  </a:cubicBezTo>
                  <a:cubicBezTo>
                    <a:pt x="537" y="522"/>
                    <a:pt x="537" y="522"/>
                    <a:pt x="537" y="522"/>
                  </a:cubicBezTo>
                  <a:cubicBezTo>
                    <a:pt x="550" y="508"/>
                    <a:pt x="562" y="494"/>
                    <a:pt x="572" y="478"/>
                  </a:cubicBezTo>
                  <a:cubicBezTo>
                    <a:pt x="533" y="454"/>
                    <a:pt x="533" y="454"/>
                    <a:pt x="533" y="454"/>
                  </a:cubicBezTo>
                  <a:cubicBezTo>
                    <a:pt x="541" y="442"/>
                    <a:pt x="548" y="430"/>
                    <a:pt x="553" y="417"/>
                  </a:cubicBezTo>
                  <a:cubicBezTo>
                    <a:pt x="512" y="397"/>
                    <a:pt x="512" y="397"/>
                    <a:pt x="512" y="397"/>
                  </a:cubicBezTo>
                  <a:cubicBezTo>
                    <a:pt x="513" y="395"/>
                    <a:pt x="517" y="386"/>
                    <a:pt x="518" y="384"/>
                  </a:cubicBezTo>
                  <a:cubicBezTo>
                    <a:pt x="561" y="399"/>
                    <a:pt x="561" y="399"/>
                    <a:pt x="561" y="399"/>
                  </a:cubicBezTo>
                  <a:cubicBezTo>
                    <a:pt x="562" y="394"/>
                    <a:pt x="564" y="390"/>
                    <a:pt x="565" y="385"/>
                  </a:cubicBezTo>
                  <a:cubicBezTo>
                    <a:pt x="608" y="398"/>
                    <a:pt x="608" y="398"/>
                    <a:pt x="608" y="398"/>
                  </a:cubicBezTo>
                  <a:cubicBezTo>
                    <a:pt x="612" y="387"/>
                    <a:pt x="614" y="376"/>
                    <a:pt x="616" y="365"/>
                  </a:cubicBezTo>
                  <a:cubicBezTo>
                    <a:pt x="572" y="357"/>
                    <a:pt x="572" y="357"/>
                    <a:pt x="572" y="357"/>
                  </a:cubicBezTo>
                  <a:cubicBezTo>
                    <a:pt x="573" y="352"/>
                    <a:pt x="574" y="351"/>
                    <a:pt x="574" y="346"/>
                  </a:cubicBezTo>
                  <a:cubicBezTo>
                    <a:pt x="529" y="341"/>
                    <a:pt x="529" y="341"/>
                    <a:pt x="529" y="341"/>
                  </a:cubicBezTo>
                  <a:cubicBezTo>
                    <a:pt x="529" y="338"/>
                    <a:pt x="530" y="330"/>
                    <a:pt x="530" y="328"/>
                  </a:cubicBezTo>
                  <a:lnTo>
                    <a:pt x="575" y="331"/>
                  </a:lnTo>
                  <a:close/>
                  <a:moveTo>
                    <a:pt x="483" y="510"/>
                  </a:moveTo>
                  <a:cubicBezTo>
                    <a:pt x="454" y="476"/>
                    <a:pt x="454" y="476"/>
                    <a:pt x="454" y="476"/>
                  </a:cubicBezTo>
                  <a:cubicBezTo>
                    <a:pt x="445" y="484"/>
                    <a:pt x="440" y="488"/>
                    <a:pt x="430" y="494"/>
                  </a:cubicBezTo>
                  <a:cubicBezTo>
                    <a:pt x="406" y="456"/>
                    <a:pt x="406" y="456"/>
                    <a:pt x="406" y="456"/>
                  </a:cubicBezTo>
                  <a:cubicBezTo>
                    <a:pt x="403" y="457"/>
                    <a:pt x="387" y="467"/>
                    <a:pt x="387" y="467"/>
                  </a:cubicBezTo>
                  <a:cubicBezTo>
                    <a:pt x="408" y="507"/>
                    <a:pt x="408" y="507"/>
                    <a:pt x="408" y="507"/>
                  </a:cubicBezTo>
                  <a:cubicBezTo>
                    <a:pt x="408" y="507"/>
                    <a:pt x="425" y="498"/>
                    <a:pt x="425" y="498"/>
                  </a:cubicBezTo>
                  <a:cubicBezTo>
                    <a:pt x="449" y="536"/>
                    <a:pt x="449" y="536"/>
                    <a:pt x="449" y="536"/>
                  </a:cubicBezTo>
                  <a:cubicBezTo>
                    <a:pt x="459" y="531"/>
                    <a:pt x="468" y="524"/>
                    <a:pt x="477" y="517"/>
                  </a:cubicBezTo>
                  <a:cubicBezTo>
                    <a:pt x="505" y="552"/>
                    <a:pt x="505" y="552"/>
                    <a:pt x="505" y="552"/>
                  </a:cubicBezTo>
                  <a:cubicBezTo>
                    <a:pt x="511" y="547"/>
                    <a:pt x="516" y="543"/>
                    <a:pt x="522" y="538"/>
                  </a:cubicBezTo>
                  <a:cubicBezTo>
                    <a:pt x="491" y="504"/>
                    <a:pt x="491" y="504"/>
                    <a:pt x="491" y="504"/>
                  </a:cubicBezTo>
                  <a:cubicBezTo>
                    <a:pt x="488" y="506"/>
                    <a:pt x="486" y="508"/>
                    <a:pt x="483" y="510"/>
                  </a:cubicBezTo>
                  <a:close/>
                </a:path>
              </a:pathLst>
            </a:custGeom>
            <a:solidFill>
              <a:srgbClr val="FF671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353C45"/>
                </a:solidFill>
                <a:latin typeface="Calibri"/>
                <a:ea typeface="+mn-ea"/>
              </a:endParaRPr>
            </a:p>
          </p:txBody>
        </p:sp>
        <p:sp>
          <p:nvSpPr>
            <p:cNvPr id="20" name="Freeform 6"/>
            <p:cNvSpPr>
              <a:spLocks noChangeAspect="1" noEditPoints="1"/>
            </p:cNvSpPr>
            <p:nvPr/>
          </p:nvSpPr>
          <p:spPr bwMode="auto">
            <a:xfrm>
              <a:off x="1862" y="1358"/>
              <a:ext cx="3784" cy="491"/>
            </a:xfrm>
            <a:custGeom>
              <a:avLst/>
              <a:gdLst>
                <a:gd name="T0" fmla="*/ 0 w 1600"/>
                <a:gd name="T1" fmla="*/ 202 h 207"/>
                <a:gd name="T2" fmla="*/ 81 w 1600"/>
                <a:gd name="T3" fmla="*/ 175 h 207"/>
                <a:gd name="T4" fmla="*/ 235 w 1600"/>
                <a:gd name="T5" fmla="*/ 202 h 207"/>
                <a:gd name="T6" fmla="*/ 188 w 1600"/>
                <a:gd name="T7" fmla="*/ 18 h 207"/>
                <a:gd name="T8" fmla="*/ 108 w 1600"/>
                <a:gd name="T9" fmla="*/ 131 h 207"/>
                <a:gd name="T10" fmla="*/ 190 w 1600"/>
                <a:gd name="T11" fmla="*/ 131 h 207"/>
                <a:gd name="T12" fmla="*/ 486 w 1600"/>
                <a:gd name="T13" fmla="*/ 19 h 207"/>
                <a:gd name="T14" fmla="*/ 325 w 1600"/>
                <a:gd name="T15" fmla="*/ 202 h 207"/>
                <a:gd name="T16" fmla="*/ 386 w 1600"/>
                <a:gd name="T17" fmla="*/ 158 h 207"/>
                <a:gd name="T18" fmla="*/ 571 w 1600"/>
                <a:gd name="T19" fmla="*/ 89 h 207"/>
                <a:gd name="T20" fmla="*/ 481 w 1600"/>
                <a:gd name="T21" fmla="*/ 116 h 207"/>
                <a:gd name="T22" fmla="*/ 386 w 1600"/>
                <a:gd name="T23" fmla="*/ 65 h 207"/>
                <a:gd name="T24" fmla="*/ 509 w 1600"/>
                <a:gd name="T25" fmla="*/ 90 h 207"/>
                <a:gd name="T26" fmla="*/ 763 w 1600"/>
                <a:gd name="T27" fmla="*/ 19 h 207"/>
                <a:gd name="T28" fmla="*/ 602 w 1600"/>
                <a:gd name="T29" fmla="*/ 202 h 207"/>
                <a:gd name="T30" fmla="*/ 663 w 1600"/>
                <a:gd name="T31" fmla="*/ 158 h 207"/>
                <a:gd name="T32" fmla="*/ 848 w 1600"/>
                <a:gd name="T33" fmla="*/ 89 h 207"/>
                <a:gd name="T34" fmla="*/ 758 w 1600"/>
                <a:gd name="T35" fmla="*/ 116 h 207"/>
                <a:gd name="T36" fmla="*/ 663 w 1600"/>
                <a:gd name="T37" fmla="*/ 65 h 207"/>
                <a:gd name="T38" fmla="*/ 786 w 1600"/>
                <a:gd name="T39" fmla="*/ 90 h 207"/>
                <a:gd name="T40" fmla="*/ 866 w 1600"/>
                <a:gd name="T41" fmla="*/ 19 h 207"/>
                <a:gd name="T42" fmla="*/ 1134 w 1600"/>
                <a:gd name="T43" fmla="*/ 65 h 207"/>
                <a:gd name="T44" fmla="*/ 1030 w 1600"/>
                <a:gd name="T45" fmla="*/ 202 h 207"/>
                <a:gd name="T46" fmla="*/ 969 w 1600"/>
                <a:gd name="T47" fmla="*/ 65 h 207"/>
                <a:gd name="T48" fmla="*/ 866 w 1600"/>
                <a:gd name="T49" fmla="*/ 19 h 207"/>
                <a:gd name="T50" fmla="*/ 1230 w 1600"/>
                <a:gd name="T51" fmla="*/ 19 h 207"/>
                <a:gd name="T52" fmla="*/ 1169 w 1600"/>
                <a:gd name="T53" fmla="*/ 202 h 207"/>
                <a:gd name="T54" fmla="*/ 1416 w 1600"/>
                <a:gd name="T55" fmla="*/ 14 h 207"/>
                <a:gd name="T56" fmla="*/ 1416 w 1600"/>
                <a:gd name="T57" fmla="*/ 207 h 207"/>
                <a:gd name="T58" fmla="*/ 1416 w 1600"/>
                <a:gd name="T59" fmla="*/ 14 h 207"/>
                <a:gd name="T60" fmla="*/ 1332 w 1600"/>
                <a:gd name="T61" fmla="*/ 110 h 207"/>
                <a:gd name="T62" fmla="*/ 1501 w 1600"/>
                <a:gd name="T63" fmla="*/ 111 h 207"/>
                <a:gd name="T64" fmla="*/ 1585 w 1600"/>
                <a:gd name="T65" fmla="*/ 19 h 207"/>
                <a:gd name="T66" fmla="*/ 1589 w 1600"/>
                <a:gd name="T67" fmla="*/ 15 h 207"/>
                <a:gd name="T68" fmla="*/ 1581 w 1600"/>
                <a:gd name="T69" fmla="*/ 9 h 207"/>
                <a:gd name="T70" fmla="*/ 1574 w 1600"/>
                <a:gd name="T71" fmla="*/ 28 h 207"/>
                <a:gd name="T72" fmla="*/ 1578 w 1600"/>
                <a:gd name="T73" fmla="*/ 21 h 207"/>
                <a:gd name="T74" fmla="*/ 1584 w 1600"/>
                <a:gd name="T75" fmla="*/ 23 h 207"/>
                <a:gd name="T76" fmla="*/ 1590 w 1600"/>
                <a:gd name="T77" fmla="*/ 28 h 207"/>
                <a:gd name="T78" fmla="*/ 1585 w 1600"/>
                <a:gd name="T79" fmla="*/ 19 h 207"/>
                <a:gd name="T80" fmla="*/ 1579 w 1600"/>
                <a:gd name="T81" fmla="*/ 18 h 207"/>
                <a:gd name="T82" fmla="*/ 1581 w 1600"/>
                <a:gd name="T83" fmla="*/ 12 h 207"/>
                <a:gd name="T84" fmla="*/ 1580 w 1600"/>
                <a:gd name="T85" fmla="*/ 18 h 207"/>
                <a:gd name="T86" fmla="*/ 1563 w 1600"/>
                <a:gd name="T87" fmla="*/ 18 h 207"/>
                <a:gd name="T88" fmla="*/ 1600 w 1600"/>
                <a:gd name="T89" fmla="*/ 18 h 207"/>
                <a:gd name="T90" fmla="*/ 1581 w 1600"/>
                <a:gd name="T91" fmla="*/ 33 h 207"/>
                <a:gd name="T92" fmla="*/ 1581 w 1600"/>
                <a:gd name="T93" fmla="*/ 4 h 207"/>
                <a:gd name="T94" fmla="*/ 1581 w 1600"/>
                <a:gd name="T95" fmla="*/ 3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00" h="207">
                  <a:moveTo>
                    <a:pt x="115" y="18"/>
                  </a:moveTo>
                  <a:cubicBezTo>
                    <a:pt x="0" y="202"/>
                    <a:pt x="0" y="202"/>
                    <a:pt x="0" y="202"/>
                  </a:cubicBezTo>
                  <a:cubicBezTo>
                    <a:pt x="64" y="202"/>
                    <a:pt x="64" y="202"/>
                    <a:pt x="64" y="202"/>
                  </a:cubicBezTo>
                  <a:cubicBezTo>
                    <a:pt x="81" y="175"/>
                    <a:pt x="81" y="175"/>
                    <a:pt x="81" y="175"/>
                  </a:cubicBezTo>
                  <a:cubicBezTo>
                    <a:pt x="217" y="175"/>
                    <a:pt x="217" y="175"/>
                    <a:pt x="217" y="175"/>
                  </a:cubicBezTo>
                  <a:cubicBezTo>
                    <a:pt x="235" y="202"/>
                    <a:pt x="235" y="202"/>
                    <a:pt x="235" y="202"/>
                  </a:cubicBezTo>
                  <a:cubicBezTo>
                    <a:pt x="303" y="202"/>
                    <a:pt x="303" y="202"/>
                    <a:pt x="303" y="202"/>
                  </a:cubicBezTo>
                  <a:cubicBezTo>
                    <a:pt x="188" y="18"/>
                    <a:pt x="188" y="18"/>
                    <a:pt x="188" y="18"/>
                  </a:cubicBezTo>
                  <a:lnTo>
                    <a:pt x="115" y="18"/>
                  </a:lnTo>
                  <a:close/>
                  <a:moveTo>
                    <a:pt x="108" y="131"/>
                  </a:moveTo>
                  <a:cubicBezTo>
                    <a:pt x="149" y="65"/>
                    <a:pt x="149" y="65"/>
                    <a:pt x="149" y="65"/>
                  </a:cubicBezTo>
                  <a:cubicBezTo>
                    <a:pt x="190" y="131"/>
                    <a:pt x="190" y="131"/>
                    <a:pt x="190" y="131"/>
                  </a:cubicBezTo>
                  <a:lnTo>
                    <a:pt x="108" y="131"/>
                  </a:lnTo>
                  <a:close/>
                  <a:moveTo>
                    <a:pt x="486" y="19"/>
                  </a:moveTo>
                  <a:cubicBezTo>
                    <a:pt x="325" y="19"/>
                    <a:pt x="325" y="19"/>
                    <a:pt x="325" y="19"/>
                  </a:cubicBezTo>
                  <a:cubicBezTo>
                    <a:pt x="325" y="202"/>
                    <a:pt x="325" y="202"/>
                    <a:pt x="325" y="202"/>
                  </a:cubicBezTo>
                  <a:cubicBezTo>
                    <a:pt x="386" y="202"/>
                    <a:pt x="386" y="202"/>
                    <a:pt x="386" y="202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96" y="158"/>
                    <a:pt x="468" y="158"/>
                    <a:pt x="485" y="158"/>
                  </a:cubicBezTo>
                  <a:cubicBezTo>
                    <a:pt x="535" y="158"/>
                    <a:pt x="571" y="146"/>
                    <a:pt x="571" y="89"/>
                  </a:cubicBezTo>
                  <a:cubicBezTo>
                    <a:pt x="571" y="31"/>
                    <a:pt x="535" y="19"/>
                    <a:pt x="486" y="19"/>
                  </a:cubicBezTo>
                  <a:close/>
                  <a:moveTo>
                    <a:pt x="481" y="116"/>
                  </a:moveTo>
                  <a:cubicBezTo>
                    <a:pt x="468" y="116"/>
                    <a:pt x="397" y="116"/>
                    <a:pt x="386" y="116"/>
                  </a:cubicBezTo>
                  <a:cubicBezTo>
                    <a:pt x="386" y="65"/>
                    <a:pt x="386" y="65"/>
                    <a:pt x="386" y="65"/>
                  </a:cubicBezTo>
                  <a:cubicBezTo>
                    <a:pt x="386" y="65"/>
                    <a:pt x="463" y="65"/>
                    <a:pt x="480" y="65"/>
                  </a:cubicBezTo>
                  <a:cubicBezTo>
                    <a:pt x="503" y="65"/>
                    <a:pt x="509" y="71"/>
                    <a:pt x="509" y="90"/>
                  </a:cubicBezTo>
                  <a:cubicBezTo>
                    <a:pt x="509" y="110"/>
                    <a:pt x="503" y="116"/>
                    <a:pt x="481" y="116"/>
                  </a:cubicBezTo>
                  <a:close/>
                  <a:moveTo>
                    <a:pt x="763" y="19"/>
                  </a:moveTo>
                  <a:cubicBezTo>
                    <a:pt x="602" y="19"/>
                    <a:pt x="602" y="19"/>
                    <a:pt x="602" y="19"/>
                  </a:cubicBezTo>
                  <a:cubicBezTo>
                    <a:pt x="602" y="202"/>
                    <a:pt x="602" y="202"/>
                    <a:pt x="602" y="202"/>
                  </a:cubicBezTo>
                  <a:cubicBezTo>
                    <a:pt x="663" y="202"/>
                    <a:pt x="663" y="202"/>
                    <a:pt x="663" y="202"/>
                  </a:cubicBezTo>
                  <a:cubicBezTo>
                    <a:pt x="663" y="158"/>
                    <a:pt x="663" y="158"/>
                    <a:pt x="663" y="158"/>
                  </a:cubicBezTo>
                  <a:cubicBezTo>
                    <a:pt x="673" y="158"/>
                    <a:pt x="745" y="158"/>
                    <a:pt x="762" y="158"/>
                  </a:cubicBezTo>
                  <a:cubicBezTo>
                    <a:pt x="812" y="158"/>
                    <a:pt x="848" y="146"/>
                    <a:pt x="848" y="89"/>
                  </a:cubicBezTo>
                  <a:cubicBezTo>
                    <a:pt x="848" y="31"/>
                    <a:pt x="812" y="19"/>
                    <a:pt x="763" y="19"/>
                  </a:cubicBezTo>
                  <a:close/>
                  <a:moveTo>
                    <a:pt x="758" y="116"/>
                  </a:moveTo>
                  <a:cubicBezTo>
                    <a:pt x="745" y="116"/>
                    <a:pt x="674" y="116"/>
                    <a:pt x="663" y="116"/>
                  </a:cubicBezTo>
                  <a:cubicBezTo>
                    <a:pt x="663" y="65"/>
                    <a:pt x="663" y="65"/>
                    <a:pt x="663" y="65"/>
                  </a:cubicBezTo>
                  <a:cubicBezTo>
                    <a:pt x="663" y="65"/>
                    <a:pt x="740" y="65"/>
                    <a:pt x="757" y="65"/>
                  </a:cubicBezTo>
                  <a:cubicBezTo>
                    <a:pt x="780" y="65"/>
                    <a:pt x="786" y="71"/>
                    <a:pt x="786" y="90"/>
                  </a:cubicBezTo>
                  <a:cubicBezTo>
                    <a:pt x="786" y="110"/>
                    <a:pt x="780" y="116"/>
                    <a:pt x="758" y="116"/>
                  </a:cubicBezTo>
                  <a:close/>
                  <a:moveTo>
                    <a:pt x="866" y="19"/>
                  </a:moveTo>
                  <a:cubicBezTo>
                    <a:pt x="1134" y="19"/>
                    <a:pt x="1134" y="19"/>
                    <a:pt x="1134" y="19"/>
                  </a:cubicBezTo>
                  <a:cubicBezTo>
                    <a:pt x="1134" y="65"/>
                    <a:pt x="1134" y="65"/>
                    <a:pt x="1134" y="65"/>
                  </a:cubicBezTo>
                  <a:cubicBezTo>
                    <a:pt x="1030" y="65"/>
                    <a:pt x="1030" y="65"/>
                    <a:pt x="1030" y="65"/>
                  </a:cubicBezTo>
                  <a:cubicBezTo>
                    <a:pt x="1030" y="202"/>
                    <a:pt x="1030" y="202"/>
                    <a:pt x="1030" y="202"/>
                  </a:cubicBezTo>
                  <a:cubicBezTo>
                    <a:pt x="969" y="202"/>
                    <a:pt x="969" y="202"/>
                    <a:pt x="969" y="202"/>
                  </a:cubicBezTo>
                  <a:cubicBezTo>
                    <a:pt x="969" y="65"/>
                    <a:pt x="969" y="65"/>
                    <a:pt x="969" y="65"/>
                  </a:cubicBezTo>
                  <a:cubicBezTo>
                    <a:pt x="866" y="65"/>
                    <a:pt x="866" y="65"/>
                    <a:pt x="866" y="65"/>
                  </a:cubicBezTo>
                  <a:lnTo>
                    <a:pt x="866" y="19"/>
                  </a:lnTo>
                  <a:close/>
                  <a:moveTo>
                    <a:pt x="1169" y="19"/>
                  </a:moveTo>
                  <a:cubicBezTo>
                    <a:pt x="1230" y="19"/>
                    <a:pt x="1230" y="19"/>
                    <a:pt x="1230" y="19"/>
                  </a:cubicBezTo>
                  <a:cubicBezTo>
                    <a:pt x="1230" y="202"/>
                    <a:pt x="1230" y="202"/>
                    <a:pt x="1230" y="202"/>
                  </a:cubicBezTo>
                  <a:cubicBezTo>
                    <a:pt x="1169" y="202"/>
                    <a:pt x="1169" y="202"/>
                    <a:pt x="1169" y="202"/>
                  </a:cubicBezTo>
                  <a:lnTo>
                    <a:pt x="1169" y="19"/>
                  </a:lnTo>
                  <a:close/>
                  <a:moveTo>
                    <a:pt x="1416" y="14"/>
                  </a:moveTo>
                  <a:cubicBezTo>
                    <a:pt x="1312" y="14"/>
                    <a:pt x="1265" y="30"/>
                    <a:pt x="1265" y="111"/>
                  </a:cubicBezTo>
                  <a:cubicBezTo>
                    <a:pt x="1265" y="191"/>
                    <a:pt x="1311" y="207"/>
                    <a:pt x="1416" y="207"/>
                  </a:cubicBezTo>
                  <a:cubicBezTo>
                    <a:pt x="1520" y="207"/>
                    <a:pt x="1567" y="191"/>
                    <a:pt x="1567" y="110"/>
                  </a:cubicBezTo>
                  <a:cubicBezTo>
                    <a:pt x="1567" y="30"/>
                    <a:pt x="1520" y="14"/>
                    <a:pt x="1416" y="14"/>
                  </a:cubicBezTo>
                  <a:close/>
                  <a:moveTo>
                    <a:pt x="1416" y="162"/>
                  </a:moveTo>
                  <a:cubicBezTo>
                    <a:pt x="1350" y="162"/>
                    <a:pt x="1332" y="158"/>
                    <a:pt x="1332" y="110"/>
                  </a:cubicBezTo>
                  <a:cubicBezTo>
                    <a:pt x="1332" y="63"/>
                    <a:pt x="1350" y="60"/>
                    <a:pt x="1416" y="60"/>
                  </a:cubicBezTo>
                  <a:cubicBezTo>
                    <a:pt x="1481" y="60"/>
                    <a:pt x="1501" y="63"/>
                    <a:pt x="1501" y="111"/>
                  </a:cubicBezTo>
                  <a:cubicBezTo>
                    <a:pt x="1501" y="158"/>
                    <a:pt x="1483" y="162"/>
                    <a:pt x="1416" y="162"/>
                  </a:cubicBezTo>
                  <a:close/>
                  <a:moveTo>
                    <a:pt x="1585" y="19"/>
                  </a:moveTo>
                  <a:cubicBezTo>
                    <a:pt x="1585" y="19"/>
                    <a:pt x="1585" y="19"/>
                    <a:pt x="1585" y="19"/>
                  </a:cubicBezTo>
                  <a:cubicBezTo>
                    <a:pt x="1588" y="18"/>
                    <a:pt x="1589" y="17"/>
                    <a:pt x="1589" y="15"/>
                  </a:cubicBezTo>
                  <a:cubicBezTo>
                    <a:pt x="1589" y="13"/>
                    <a:pt x="1588" y="11"/>
                    <a:pt x="1587" y="11"/>
                  </a:cubicBezTo>
                  <a:cubicBezTo>
                    <a:pt x="1586" y="10"/>
                    <a:pt x="1585" y="9"/>
                    <a:pt x="1581" y="9"/>
                  </a:cubicBezTo>
                  <a:cubicBezTo>
                    <a:pt x="1578" y="9"/>
                    <a:pt x="1576" y="9"/>
                    <a:pt x="1574" y="10"/>
                  </a:cubicBezTo>
                  <a:cubicBezTo>
                    <a:pt x="1574" y="28"/>
                    <a:pt x="1574" y="28"/>
                    <a:pt x="1574" y="28"/>
                  </a:cubicBezTo>
                  <a:cubicBezTo>
                    <a:pt x="1578" y="28"/>
                    <a:pt x="1578" y="28"/>
                    <a:pt x="1578" y="28"/>
                  </a:cubicBezTo>
                  <a:cubicBezTo>
                    <a:pt x="1578" y="21"/>
                    <a:pt x="1578" y="21"/>
                    <a:pt x="1578" y="21"/>
                  </a:cubicBezTo>
                  <a:cubicBezTo>
                    <a:pt x="1580" y="21"/>
                    <a:pt x="1580" y="21"/>
                    <a:pt x="1580" y="21"/>
                  </a:cubicBezTo>
                  <a:cubicBezTo>
                    <a:pt x="1583" y="21"/>
                    <a:pt x="1584" y="22"/>
                    <a:pt x="1584" y="23"/>
                  </a:cubicBezTo>
                  <a:cubicBezTo>
                    <a:pt x="1585" y="26"/>
                    <a:pt x="1585" y="27"/>
                    <a:pt x="1586" y="28"/>
                  </a:cubicBezTo>
                  <a:cubicBezTo>
                    <a:pt x="1590" y="28"/>
                    <a:pt x="1590" y="28"/>
                    <a:pt x="1590" y="28"/>
                  </a:cubicBezTo>
                  <a:cubicBezTo>
                    <a:pt x="1590" y="27"/>
                    <a:pt x="1589" y="26"/>
                    <a:pt x="1589" y="23"/>
                  </a:cubicBezTo>
                  <a:cubicBezTo>
                    <a:pt x="1588" y="21"/>
                    <a:pt x="1587" y="20"/>
                    <a:pt x="1585" y="19"/>
                  </a:cubicBezTo>
                  <a:close/>
                  <a:moveTo>
                    <a:pt x="1580" y="18"/>
                  </a:moveTo>
                  <a:cubicBezTo>
                    <a:pt x="1579" y="18"/>
                    <a:pt x="1579" y="18"/>
                    <a:pt x="1579" y="18"/>
                  </a:cubicBezTo>
                  <a:cubicBezTo>
                    <a:pt x="1579" y="12"/>
                    <a:pt x="1579" y="12"/>
                    <a:pt x="1579" y="12"/>
                  </a:cubicBezTo>
                  <a:cubicBezTo>
                    <a:pt x="1579" y="12"/>
                    <a:pt x="1580" y="12"/>
                    <a:pt x="1581" y="12"/>
                  </a:cubicBezTo>
                  <a:cubicBezTo>
                    <a:pt x="1583" y="12"/>
                    <a:pt x="1585" y="13"/>
                    <a:pt x="1585" y="15"/>
                  </a:cubicBezTo>
                  <a:cubicBezTo>
                    <a:pt x="1585" y="17"/>
                    <a:pt x="1583" y="18"/>
                    <a:pt x="1580" y="18"/>
                  </a:cubicBezTo>
                  <a:close/>
                  <a:moveTo>
                    <a:pt x="1581" y="0"/>
                  </a:moveTo>
                  <a:cubicBezTo>
                    <a:pt x="1571" y="0"/>
                    <a:pt x="1563" y="8"/>
                    <a:pt x="1563" y="18"/>
                  </a:cubicBezTo>
                  <a:cubicBezTo>
                    <a:pt x="1563" y="29"/>
                    <a:pt x="1571" y="37"/>
                    <a:pt x="1581" y="37"/>
                  </a:cubicBezTo>
                  <a:cubicBezTo>
                    <a:pt x="1592" y="37"/>
                    <a:pt x="1600" y="29"/>
                    <a:pt x="1600" y="18"/>
                  </a:cubicBezTo>
                  <a:cubicBezTo>
                    <a:pt x="1600" y="8"/>
                    <a:pt x="1592" y="0"/>
                    <a:pt x="1581" y="0"/>
                  </a:cubicBezTo>
                  <a:close/>
                  <a:moveTo>
                    <a:pt x="1581" y="33"/>
                  </a:moveTo>
                  <a:cubicBezTo>
                    <a:pt x="1573" y="33"/>
                    <a:pt x="1567" y="26"/>
                    <a:pt x="1567" y="18"/>
                  </a:cubicBezTo>
                  <a:cubicBezTo>
                    <a:pt x="1567" y="10"/>
                    <a:pt x="1573" y="4"/>
                    <a:pt x="1581" y="4"/>
                  </a:cubicBezTo>
                  <a:cubicBezTo>
                    <a:pt x="1589" y="4"/>
                    <a:pt x="1595" y="10"/>
                    <a:pt x="1595" y="19"/>
                  </a:cubicBezTo>
                  <a:cubicBezTo>
                    <a:pt x="1595" y="26"/>
                    <a:pt x="1589" y="33"/>
                    <a:pt x="1581" y="3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353C45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Rectangle 3"/>
          <p:cNvSpPr/>
          <p:nvPr userDrawn="1"/>
        </p:nvSpPr>
        <p:spPr>
          <a:xfrm>
            <a:off x="-1651" y="3"/>
            <a:ext cx="9145651" cy="685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436962" y="4879548"/>
            <a:ext cx="209773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75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85" fontAlgn="auto">
              <a:spcBef>
                <a:spcPts val="0"/>
              </a:spcBef>
              <a:spcAft>
                <a:spcPts val="0"/>
              </a:spcAft>
            </a:pPr>
            <a:r>
              <a:rPr lang="en-US" sz="675" dirty="0">
                <a:solidFill>
                  <a:srgbClr val="7E848B"/>
                </a:solidFill>
                <a:latin typeface="Calibri"/>
              </a:rPr>
              <a:t>© 2016 Apptio, All rights reserved (v2.5)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-1192" y="4879548"/>
            <a:ext cx="33909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8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85" fontAlgn="auto">
              <a:spcBef>
                <a:spcPts val="0"/>
              </a:spcBef>
              <a:spcAft>
                <a:spcPts val="0"/>
              </a:spcAft>
            </a:pPr>
            <a:fld id="{4C1362D4-5ABD-4326-94E6-7A5ADE3C9964}" type="slidenum">
              <a:rPr lang="en-US" sz="788" smtClean="0">
                <a:solidFill>
                  <a:srgbClr val="FF661C"/>
                </a:solidFill>
                <a:latin typeface="Calibri"/>
              </a:rPr>
              <a:pPr defTabSz="91368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88" dirty="0">
              <a:solidFill>
                <a:srgbClr val="FF661C"/>
              </a:solidFill>
              <a:latin typeface="Calibri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2" y="914402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14117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685" rtl="0" eaLnBrk="1" latinLnBrk="0" hangingPunct="1">
        <a:lnSpc>
          <a:spcPct val="80000"/>
        </a:lnSpc>
        <a:spcBef>
          <a:spcPct val="0"/>
        </a:spcBef>
        <a:buNone/>
        <a:defRPr sz="3225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13" indent="-274313" algn="l" defTabSz="913685" rtl="0" eaLnBrk="1" latinLnBrk="0" hangingPunct="1">
        <a:spcBef>
          <a:spcPct val="20000"/>
        </a:spcBef>
        <a:buClr>
          <a:schemeClr val="accent1"/>
        </a:buClr>
        <a:buSzPct val="80000"/>
        <a:buFont typeface="Wingdings 3" panose="05040102010807070707" pitchFamily="18" charset="2"/>
        <a:buChar char="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61" indent="-22859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44" indent="-176209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114" indent="-15398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125410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628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47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31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156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8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2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6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0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054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89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731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>
            <a:grpSpLocks noChangeAspect="1"/>
          </p:cNvGrpSpPr>
          <p:nvPr userDrawn="1"/>
        </p:nvGrpSpPr>
        <p:grpSpPr bwMode="auto">
          <a:xfrm>
            <a:off x="8306382" y="4889713"/>
            <a:ext cx="703200" cy="187249"/>
            <a:chOff x="118" y="883"/>
            <a:chExt cx="5528" cy="1472"/>
          </a:xfrm>
        </p:grpSpPr>
        <p:sp>
          <p:nvSpPr>
            <p:cNvPr id="19" name="Freeform 5"/>
            <p:cNvSpPr>
              <a:spLocks noChangeAspect="1" noEditPoints="1"/>
            </p:cNvSpPr>
            <p:nvPr/>
          </p:nvSpPr>
          <p:spPr bwMode="auto">
            <a:xfrm>
              <a:off x="118" y="883"/>
              <a:ext cx="1469" cy="1472"/>
            </a:xfrm>
            <a:custGeom>
              <a:avLst/>
              <a:gdLst>
                <a:gd name="T0" fmla="*/ 408 w 621"/>
                <a:gd name="T1" fmla="*/ 507 h 620"/>
                <a:gd name="T2" fmla="*/ 445 w 621"/>
                <a:gd name="T3" fmla="*/ 538 h 620"/>
                <a:gd name="T4" fmla="*/ 439 w 621"/>
                <a:gd name="T5" fmla="*/ 593 h 620"/>
                <a:gd name="T6" fmla="*/ 386 w 621"/>
                <a:gd name="T7" fmla="*/ 564 h 620"/>
                <a:gd name="T8" fmla="*/ 575 w 621"/>
                <a:gd name="T9" fmla="*/ 331 h 620"/>
                <a:gd name="T10" fmla="*/ 621 w 621"/>
                <a:gd name="T11" fmla="*/ 321 h 620"/>
                <a:gd name="T12" fmla="*/ 621 w 621"/>
                <a:gd name="T13" fmla="*/ 299 h 620"/>
                <a:gd name="T14" fmla="*/ 575 w 621"/>
                <a:gd name="T15" fmla="*/ 289 h 620"/>
                <a:gd name="T16" fmla="*/ 524 w 621"/>
                <a:gd name="T17" fmla="*/ 257 h 620"/>
                <a:gd name="T18" fmla="*/ 556 w 621"/>
                <a:gd name="T19" fmla="*/ 208 h 620"/>
                <a:gd name="T20" fmla="*/ 583 w 621"/>
                <a:gd name="T21" fmla="*/ 161 h 620"/>
                <a:gd name="T22" fmla="*/ 550 w 621"/>
                <a:gd name="T23" fmla="*/ 198 h 620"/>
                <a:gd name="T24" fmla="*/ 487 w 621"/>
                <a:gd name="T25" fmla="*/ 177 h 620"/>
                <a:gd name="T26" fmla="*/ 528 w 621"/>
                <a:gd name="T27" fmla="*/ 159 h 620"/>
                <a:gd name="T28" fmla="*/ 537 w 621"/>
                <a:gd name="T29" fmla="*/ 98 h 620"/>
                <a:gd name="T30" fmla="*/ 510 w 621"/>
                <a:gd name="T31" fmla="*/ 137 h 620"/>
                <a:gd name="T32" fmla="*/ 454 w 621"/>
                <a:gd name="T33" fmla="*/ 143 h 620"/>
                <a:gd name="T34" fmla="*/ 491 w 621"/>
                <a:gd name="T35" fmla="*/ 116 h 620"/>
                <a:gd name="T36" fmla="*/ 478 w 621"/>
                <a:gd name="T37" fmla="*/ 48 h 620"/>
                <a:gd name="T38" fmla="*/ 416 w 621"/>
                <a:gd name="T39" fmla="*/ 66 h 620"/>
                <a:gd name="T40" fmla="*/ 387 w 621"/>
                <a:gd name="T41" fmla="*/ 104 h 620"/>
                <a:gd name="T42" fmla="*/ 384 w 621"/>
                <a:gd name="T43" fmla="*/ 55 h 620"/>
                <a:gd name="T44" fmla="*/ 365 w 621"/>
                <a:gd name="T45" fmla="*/ 4 h 620"/>
                <a:gd name="T46" fmla="*/ 344 w 621"/>
                <a:gd name="T47" fmla="*/ 47 h 620"/>
                <a:gd name="T48" fmla="*/ 325 w 621"/>
                <a:gd name="T49" fmla="*/ 91 h 620"/>
                <a:gd name="T50" fmla="*/ 319 w 621"/>
                <a:gd name="T51" fmla="*/ 45 h 620"/>
                <a:gd name="T52" fmla="*/ 311 w 621"/>
                <a:gd name="T53" fmla="*/ 0 h 620"/>
                <a:gd name="T54" fmla="*/ 311 w 621"/>
                <a:gd name="T55" fmla="*/ 620 h 620"/>
                <a:gd name="T56" fmla="*/ 317 w 621"/>
                <a:gd name="T57" fmla="*/ 575 h 620"/>
                <a:gd name="T58" fmla="*/ 338 w 621"/>
                <a:gd name="T59" fmla="*/ 619 h 620"/>
                <a:gd name="T60" fmla="*/ 353 w 621"/>
                <a:gd name="T61" fmla="*/ 571 h 620"/>
                <a:gd name="T62" fmla="*/ 331 w 621"/>
                <a:gd name="T63" fmla="*/ 529 h 620"/>
                <a:gd name="T64" fmla="*/ 311 w 621"/>
                <a:gd name="T65" fmla="*/ 484 h 620"/>
                <a:gd name="T66" fmla="*/ 311 w 621"/>
                <a:gd name="T67" fmla="*/ 136 h 620"/>
                <a:gd name="T68" fmla="*/ 409 w 621"/>
                <a:gd name="T69" fmla="*/ 113 h 620"/>
                <a:gd name="T70" fmla="*/ 403 w 621"/>
                <a:gd name="T71" fmla="*/ 162 h 620"/>
                <a:gd name="T72" fmla="*/ 512 w 621"/>
                <a:gd name="T73" fmla="*/ 222 h 620"/>
                <a:gd name="T74" fmla="*/ 477 w 621"/>
                <a:gd name="T75" fmla="*/ 258 h 620"/>
                <a:gd name="T76" fmla="*/ 459 w 621"/>
                <a:gd name="T77" fmla="*/ 402 h 620"/>
                <a:gd name="T78" fmla="*/ 479 w 621"/>
                <a:gd name="T79" fmla="*/ 451 h 620"/>
                <a:gd name="T80" fmla="*/ 504 w 621"/>
                <a:gd name="T81" fmla="*/ 491 h 620"/>
                <a:gd name="T82" fmla="*/ 572 w 621"/>
                <a:gd name="T83" fmla="*/ 478 h 620"/>
                <a:gd name="T84" fmla="*/ 553 w 621"/>
                <a:gd name="T85" fmla="*/ 417 h 620"/>
                <a:gd name="T86" fmla="*/ 518 w 621"/>
                <a:gd name="T87" fmla="*/ 384 h 620"/>
                <a:gd name="T88" fmla="*/ 565 w 621"/>
                <a:gd name="T89" fmla="*/ 385 h 620"/>
                <a:gd name="T90" fmla="*/ 616 w 621"/>
                <a:gd name="T91" fmla="*/ 365 h 620"/>
                <a:gd name="T92" fmla="*/ 574 w 621"/>
                <a:gd name="T93" fmla="*/ 346 h 620"/>
                <a:gd name="T94" fmla="*/ 530 w 621"/>
                <a:gd name="T95" fmla="*/ 328 h 620"/>
                <a:gd name="T96" fmla="*/ 483 w 621"/>
                <a:gd name="T97" fmla="*/ 510 h 620"/>
                <a:gd name="T98" fmla="*/ 430 w 621"/>
                <a:gd name="T99" fmla="*/ 494 h 620"/>
                <a:gd name="T100" fmla="*/ 387 w 621"/>
                <a:gd name="T101" fmla="*/ 467 h 620"/>
                <a:gd name="T102" fmla="*/ 425 w 621"/>
                <a:gd name="T103" fmla="*/ 498 h 620"/>
                <a:gd name="T104" fmla="*/ 477 w 621"/>
                <a:gd name="T105" fmla="*/ 517 h 620"/>
                <a:gd name="T106" fmla="*/ 522 w 621"/>
                <a:gd name="T107" fmla="*/ 538 h 620"/>
                <a:gd name="T108" fmla="*/ 483 w 621"/>
                <a:gd name="T109" fmla="*/ 51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1" h="620">
                  <a:moveTo>
                    <a:pt x="373" y="521"/>
                  </a:moveTo>
                  <a:cubicBezTo>
                    <a:pt x="385" y="517"/>
                    <a:pt x="397" y="512"/>
                    <a:pt x="408" y="507"/>
                  </a:cubicBezTo>
                  <a:cubicBezTo>
                    <a:pt x="431" y="546"/>
                    <a:pt x="431" y="546"/>
                    <a:pt x="431" y="546"/>
                  </a:cubicBezTo>
                  <a:cubicBezTo>
                    <a:pt x="432" y="546"/>
                    <a:pt x="444" y="539"/>
                    <a:pt x="445" y="538"/>
                  </a:cubicBezTo>
                  <a:cubicBezTo>
                    <a:pt x="468" y="577"/>
                    <a:pt x="468" y="577"/>
                    <a:pt x="468" y="577"/>
                  </a:cubicBezTo>
                  <a:cubicBezTo>
                    <a:pt x="459" y="583"/>
                    <a:pt x="449" y="588"/>
                    <a:pt x="439" y="593"/>
                  </a:cubicBezTo>
                  <a:cubicBezTo>
                    <a:pt x="420" y="552"/>
                    <a:pt x="420" y="552"/>
                    <a:pt x="420" y="552"/>
                  </a:cubicBezTo>
                  <a:cubicBezTo>
                    <a:pt x="409" y="557"/>
                    <a:pt x="398" y="561"/>
                    <a:pt x="386" y="564"/>
                  </a:cubicBezTo>
                  <a:lnTo>
                    <a:pt x="373" y="521"/>
                  </a:lnTo>
                  <a:close/>
                  <a:moveTo>
                    <a:pt x="575" y="331"/>
                  </a:moveTo>
                  <a:cubicBezTo>
                    <a:pt x="575" y="328"/>
                    <a:pt x="575" y="324"/>
                    <a:pt x="576" y="320"/>
                  </a:cubicBezTo>
                  <a:cubicBezTo>
                    <a:pt x="621" y="321"/>
                    <a:pt x="621" y="321"/>
                    <a:pt x="621" y="321"/>
                  </a:cubicBezTo>
                  <a:cubicBezTo>
                    <a:pt x="621" y="317"/>
                    <a:pt x="621" y="314"/>
                    <a:pt x="621" y="310"/>
                  </a:cubicBezTo>
                  <a:cubicBezTo>
                    <a:pt x="621" y="306"/>
                    <a:pt x="621" y="303"/>
                    <a:pt x="621" y="299"/>
                  </a:cubicBezTo>
                  <a:cubicBezTo>
                    <a:pt x="576" y="301"/>
                    <a:pt x="576" y="301"/>
                    <a:pt x="576" y="301"/>
                  </a:cubicBezTo>
                  <a:cubicBezTo>
                    <a:pt x="575" y="297"/>
                    <a:pt x="575" y="293"/>
                    <a:pt x="575" y="289"/>
                  </a:cubicBezTo>
                  <a:cubicBezTo>
                    <a:pt x="530" y="292"/>
                    <a:pt x="530" y="292"/>
                    <a:pt x="530" y="292"/>
                  </a:cubicBezTo>
                  <a:cubicBezTo>
                    <a:pt x="529" y="280"/>
                    <a:pt x="527" y="268"/>
                    <a:pt x="524" y="257"/>
                  </a:cubicBezTo>
                  <a:cubicBezTo>
                    <a:pt x="568" y="246"/>
                    <a:pt x="568" y="246"/>
                    <a:pt x="568" y="246"/>
                  </a:cubicBezTo>
                  <a:cubicBezTo>
                    <a:pt x="565" y="233"/>
                    <a:pt x="561" y="220"/>
                    <a:pt x="556" y="208"/>
                  </a:cubicBezTo>
                  <a:cubicBezTo>
                    <a:pt x="597" y="191"/>
                    <a:pt x="597" y="191"/>
                    <a:pt x="597" y="191"/>
                  </a:cubicBezTo>
                  <a:cubicBezTo>
                    <a:pt x="593" y="181"/>
                    <a:pt x="588" y="171"/>
                    <a:pt x="583" y="161"/>
                  </a:cubicBezTo>
                  <a:cubicBezTo>
                    <a:pt x="543" y="183"/>
                    <a:pt x="543" y="183"/>
                    <a:pt x="543" y="183"/>
                  </a:cubicBezTo>
                  <a:cubicBezTo>
                    <a:pt x="545" y="188"/>
                    <a:pt x="548" y="193"/>
                    <a:pt x="550" y="198"/>
                  </a:cubicBezTo>
                  <a:cubicBezTo>
                    <a:pt x="510" y="217"/>
                    <a:pt x="510" y="217"/>
                    <a:pt x="510" y="217"/>
                  </a:cubicBezTo>
                  <a:cubicBezTo>
                    <a:pt x="503" y="202"/>
                    <a:pt x="497" y="190"/>
                    <a:pt x="487" y="177"/>
                  </a:cubicBezTo>
                  <a:cubicBezTo>
                    <a:pt x="522" y="150"/>
                    <a:pt x="522" y="150"/>
                    <a:pt x="522" y="150"/>
                  </a:cubicBezTo>
                  <a:cubicBezTo>
                    <a:pt x="525" y="153"/>
                    <a:pt x="525" y="155"/>
                    <a:pt x="528" y="159"/>
                  </a:cubicBezTo>
                  <a:cubicBezTo>
                    <a:pt x="565" y="133"/>
                    <a:pt x="565" y="133"/>
                    <a:pt x="565" y="133"/>
                  </a:cubicBezTo>
                  <a:cubicBezTo>
                    <a:pt x="557" y="120"/>
                    <a:pt x="547" y="109"/>
                    <a:pt x="537" y="98"/>
                  </a:cubicBezTo>
                  <a:cubicBezTo>
                    <a:pt x="504" y="129"/>
                    <a:pt x="504" y="129"/>
                    <a:pt x="504" y="129"/>
                  </a:cubicBezTo>
                  <a:cubicBezTo>
                    <a:pt x="507" y="133"/>
                    <a:pt x="507" y="133"/>
                    <a:pt x="510" y="137"/>
                  </a:cubicBezTo>
                  <a:cubicBezTo>
                    <a:pt x="476" y="166"/>
                    <a:pt x="476" y="166"/>
                    <a:pt x="476" y="166"/>
                  </a:cubicBezTo>
                  <a:cubicBezTo>
                    <a:pt x="468" y="156"/>
                    <a:pt x="463" y="151"/>
                    <a:pt x="454" y="143"/>
                  </a:cubicBezTo>
                  <a:cubicBezTo>
                    <a:pt x="483" y="109"/>
                    <a:pt x="483" y="109"/>
                    <a:pt x="483" y="109"/>
                  </a:cubicBezTo>
                  <a:cubicBezTo>
                    <a:pt x="486" y="112"/>
                    <a:pt x="488" y="114"/>
                    <a:pt x="491" y="116"/>
                  </a:cubicBezTo>
                  <a:cubicBezTo>
                    <a:pt x="522" y="82"/>
                    <a:pt x="522" y="82"/>
                    <a:pt x="522" y="82"/>
                  </a:cubicBezTo>
                  <a:cubicBezTo>
                    <a:pt x="508" y="70"/>
                    <a:pt x="493" y="58"/>
                    <a:pt x="478" y="48"/>
                  </a:cubicBezTo>
                  <a:cubicBezTo>
                    <a:pt x="453" y="87"/>
                    <a:pt x="453" y="87"/>
                    <a:pt x="453" y="87"/>
                  </a:cubicBezTo>
                  <a:cubicBezTo>
                    <a:pt x="440" y="78"/>
                    <a:pt x="431" y="72"/>
                    <a:pt x="416" y="66"/>
                  </a:cubicBezTo>
                  <a:cubicBezTo>
                    <a:pt x="399" y="108"/>
                    <a:pt x="399" y="108"/>
                    <a:pt x="399" y="108"/>
                  </a:cubicBezTo>
                  <a:cubicBezTo>
                    <a:pt x="397" y="107"/>
                    <a:pt x="389" y="104"/>
                    <a:pt x="387" y="104"/>
                  </a:cubicBezTo>
                  <a:cubicBezTo>
                    <a:pt x="403" y="61"/>
                    <a:pt x="403" y="61"/>
                    <a:pt x="403" y="61"/>
                  </a:cubicBezTo>
                  <a:cubicBezTo>
                    <a:pt x="397" y="59"/>
                    <a:pt x="391" y="57"/>
                    <a:pt x="384" y="55"/>
                  </a:cubicBezTo>
                  <a:cubicBezTo>
                    <a:pt x="397" y="12"/>
                    <a:pt x="397" y="12"/>
                    <a:pt x="397" y="12"/>
                  </a:cubicBezTo>
                  <a:cubicBezTo>
                    <a:pt x="386" y="9"/>
                    <a:pt x="376" y="6"/>
                    <a:pt x="365" y="4"/>
                  </a:cubicBezTo>
                  <a:cubicBezTo>
                    <a:pt x="357" y="49"/>
                    <a:pt x="357" y="49"/>
                    <a:pt x="357" y="49"/>
                  </a:cubicBezTo>
                  <a:cubicBezTo>
                    <a:pt x="353" y="48"/>
                    <a:pt x="348" y="47"/>
                    <a:pt x="344" y="47"/>
                  </a:cubicBezTo>
                  <a:cubicBezTo>
                    <a:pt x="338" y="92"/>
                    <a:pt x="338" y="92"/>
                    <a:pt x="338" y="92"/>
                  </a:cubicBezTo>
                  <a:cubicBezTo>
                    <a:pt x="336" y="91"/>
                    <a:pt x="327" y="91"/>
                    <a:pt x="325" y="91"/>
                  </a:cubicBezTo>
                  <a:cubicBezTo>
                    <a:pt x="329" y="46"/>
                    <a:pt x="329" y="46"/>
                    <a:pt x="329" y="46"/>
                  </a:cubicBezTo>
                  <a:cubicBezTo>
                    <a:pt x="324" y="45"/>
                    <a:pt x="325" y="45"/>
                    <a:pt x="319" y="45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17" y="0"/>
                    <a:pt x="314" y="0"/>
                    <a:pt x="311" y="0"/>
                  </a:cubicBezTo>
                  <a:cubicBezTo>
                    <a:pt x="139" y="0"/>
                    <a:pt x="0" y="139"/>
                    <a:pt x="0" y="310"/>
                  </a:cubicBezTo>
                  <a:cubicBezTo>
                    <a:pt x="0" y="481"/>
                    <a:pt x="139" y="620"/>
                    <a:pt x="311" y="620"/>
                  </a:cubicBezTo>
                  <a:cubicBezTo>
                    <a:pt x="314" y="620"/>
                    <a:pt x="315" y="620"/>
                    <a:pt x="318" y="620"/>
                  </a:cubicBezTo>
                  <a:cubicBezTo>
                    <a:pt x="317" y="575"/>
                    <a:pt x="317" y="575"/>
                    <a:pt x="317" y="575"/>
                  </a:cubicBezTo>
                  <a:cubicBezTo>
                    <a:pt x="322" y="575"/>
                    <a:pt x="328" y="575"/>
                    <a:pt x="333" y="574"/>
                  </a:cubicBezTo>
                  <a:cubicBezTo>
                    <a:pt x="338" y="619"/>
                    <a:pt x="338" y="619"/>
                    <a:pt x="338" y="619"/>
                  </a:cubicBezTo>
                  <a:cubicBezTo>
                    <a:pt x="340" y="619"/>
                    <a:pt x="361" y="616"/>
                    <a:pt x="363" y="616"/>
                  </a:cubicBezTo>
                  <a:cubicBezTo>
                    <a:pt x="353" y="571"/>
                    <a:pt x="353" y="571"/>
                    <a:pt x="353" y="571"/>
                  </a:cubicBezTo>
                  <a:cubicBezTo>
                    <a:pt x="352" y="571"/>
                    <a:pt x="341" y="573"/>
                    <a:pt x="335" y="574"/>
                  </a:cubicBezTo>
                  <a:cubicBezTo>
                    <a:pt x="331" y="529"/>
                    <a:pt x="331" y="529"/>
                    <a:pt x="331" y="529"/>
                  </a:cubicBezTo>
                  <a:cubicBezTo>
                    <a:pt x="324" y="529"/>
                    <a:pt x="317" y="530"/>
                    <a:pt x="311" y="530"/>
                  </a:cubicBezTo>
                  <a:cubicBezTo>
                    <a:pt x="311" y="484"/>
                    <a:pt x="311" y="484"/>
                    <a:pt x="311" y="484"/>
                  </a:cubicBezTo>
                  <a:cubicBezTo>
                    <a:pt x="214" y="484"/>
                    <a:pt x="136" y="406"/>
                    <a:pt x="136" y="310"/>
                  </a:cubicBezTo>
                  <a:cubicBezTo>
                    <a:pt x="136" y="214"/>
                    <a:pt x="214" y="136"/>
                    <a:pt x="311" y="136"/>
                  </a:cubicBezTo>
                  <a:cubicBezTo>
                    <a:pt x="338" y="136"/>
                    <a:pt x="364" y="142"/>
                    <a:pt x="388" y="154"/>
                  </a:cubicBezTo>
                  <a:cubicBezTo>
                    <a:pt x="409" y="113"/>
                    <a:pt x="409" y="113"/>
                    <a:pt x="409" y="113"/>
                  </a:cubicBezTo>
                  <a:cubicBezTo>
                    <a:pt x="412" y="115"/>
                    <a:pt x="421" y="121"/>
                    <a:pt x="424" y="122"/>
                  </a:cubicBezTo>
                  <a:cubicBezTo>
                    <a:pt x="403" y="162"/>
                    <a:pt x="403" y="162"/>
                    <a:pt x="403" y="162"/>
                  </a:cubicBezTo>
                  <a:cubicBezTo>
                    <a:pt x="433" y="181"/>
                    <a:pt x="456" y="208"/>
                    <a:pt x="470" y="240"/>
                  </a:cubicBezTo>
                  <a:cubicBezTo>
                    <a:pt x="512" y="222"/>
                    <a:pt x="512" y="222"/>
                    <a:pt x="512" y="222"/>
                  </a:cubicBezTo>
                  <a:cubicBezTo>
                    <a:pt x="513" y="225"/>
                    <a:pt x="518" y="237"/>
                    <a:pt x="519" y="241"/>
                  </a:cubicBezTo>
                  <a:cubicBezTo>
                    <a:pt x="477" y="258"/>
                    <a:pt x="477" y="258"/>
                    <a:pt x="477" y="258"/>
                  </a:cubicBezTo>
                  <a:cubicBezTo>
                    <a:pt x="482" y="274"/>
                    <a:pt x="485" y="292"/>
                    <a:pt x="485" y="310"/>
                  </a:cubicBezTo>
                  <a:cubicBezTo>
                    <a:pt x="485" y="343"/>
                    <a:pt x="476" y="375"/>
                    <a:pt x="459" y="402"/>
                  </a:cubicBezTo>
                  <a:cubicBezTo>
                    <a:pt x="497" y="426"/>
                    <a:pt x="497" y="426"/>
                    <a:pt x="497" y="426"/>
                  </a:cubicBezTo>
                  <a:cubicBezTo>
                    <a:pt x="491" y="435"/>
                    <a:pt x="486" y="443"/>
                    <a:pt x="479" y="451"/>
                  </a:cubicBezTo>
                  <a:cubicBezTo>
                    <a:pt x="513" y="480"/>
                    <a:pt x="513" y="480"/>
                    <a:pt x="513" y="480"/>
                  </a:cubicBezTo>
                  <a:cubicBezTo>
                    <a:pt x="510" y="484"/>
                    <a:pt x="507" y="487"/>
                    <a:pt x="504" y="491"/>
                  </a:cubicBezTo>
                  <a:cubicBezTo>
                    <a:pt x="537" y="522"/>
                    <a:pt x="537" y="522"/>
                    <a:pt x="537" y="522"/>
                  </a:cubicBezTo>
                  <a:cubicBezTo>
                    <a:pt x="550" y="508"/>
                    <a:pt x="562" y="494"/>
                    <a:pt x="572" y="478"/>
                  </a:cubicBezTo>
                  <a:cubicBezTo>
                    <a:pt x="533" y="454"/>
                    <a:pt x="533" y="454"/>
                    <a:pt x="533" y="454"/>
                  </a:cubicBezTo>
                  <a:cubicBezTo>
                    <a:pt x="541" y="442"/>
                    <a:pt x="548" y="430"/>
                    <a:pt x="553" y="417"/>
                  </a:cubicBezTo>
                  <a:cubicBezTo>
                    <a:pt x="512" y="397"/>
                    <a:pt x="512" y="397"/>
                    <a:pt x="512" y="397"/>
                  </a:cubicBezTo>
                  <a:cubicBezTo>
                    <a:pt x="513" y="395"/>
                    <a:pt x="517" y="386"/>
                    <a:pt x="518" y="384"/>
                  </a:cubicBezTo>
                  <a:cubicBezTo>
                    <a:pt x="561" y="399"/>
                    <a:pt x="561" y="399"/>
                    <a:pt x="561" y="399"/>
                  </a:cubicBezTo>
                  <a:cubicBezTo>
                    <a:pt x="562" y="394"/>
                    <a:pt x="564" y="390"/>
                    <a:pt x="565" y="385"/>
                  </a:cubicBezTo>
                  <a:cubicBezTo>
                    <a:pt x="608" y="398"/>
                    <a:pt x="608" y="398"/>
                    <a:pt x="608" y="398"/>
                  </a:cubicBezTo>
                  <a:cubicBezTo>
                    <a:pt x="612" y="387"/>
                    <a:pt x="614" y="376"/>
                    <a:pt x="616" y="365"/>
                  </a:cubicBezTo>
                  <a:cubicBezTo>
                    <a:pt x="572" y="357"/>
                    <a:pt x="572" y="357"/>
                    <a:pt x="572" y="357"/>
                  </a:cubicBezTo>
                  <a:cubicBezTo>
                    <a:pt x="573" y="352"/>
                    <a:pt x="574" y="351"/>
                    <a:pt x="574" y="346"/>
                  </a:cubicBezTo>
                  <a:cubicBezTo>
                    <a:pt x="529" y="341"/>
                    <a:pt x="529" y="341"/>
                    <a:pt x="529" y="341"/>
                  </a:cubicBezTo>
                  <a:cubicBezTo>
                    <a:pt x="529" y="338"/>
                    <a:pt x="530" y="330"/>
                    <a:pt x="530" y="328"/>
                  </a:cubicBezTo>
                  <a:lnTo>
                    <a:pt x="575" y="331"/>
                  </a:lnTo>
                  <a:close/>
                  <a:moveTo>
                    <a:pt x="483" y="510"/>
                  </a:moveTo>
                  <a:cubicBezTo>
                    <a:pt x="454" y="476"/>
                    <a:pt x="454" y="476"/>
                    <a:pt x="454" y="476"/>
                  </a:cubicBezTo>
                  <a:cubicBezTo>
                    <a:pt x="445" y="484"/>
                    <a:pt x="440" y="488"/>
                    <a:pt x="430" y="494"/>
                  </a:cubicBezTo>
                  <a:cubicBezTo>
                    <a:pt x="406" y="456"/>
                    <a:pt x="406" y="456"/>
                    <a:pt x="406" y="456"/>
                  </a:cubicBezTo>
                  <a:cubicBezTo>
                    <a:pt x="403" y="457"/>
                    <a:pt x="387" y="467"/>
                    <a:pt x="387" y="467"/>
                  </a:cubicBezTo>
                  <a:cubicBezTo>
                    <a:pt x="408" y="507"/>
                    <a:pt x="408" y="507"/>
                    <a:pt x="408" y="507"/>
                  </a:cubicBezTo>
                  <a:cubicBezTo>
                    <a:pt x="408" y="507"/>
                    <a:pt x="425" y="498"/>
                    <a:pt x="425" y="498"/>
                  </a:cubicBezTo>
                  <a:cubicBezTo>
                    <a:pt x="449" y="536"/>
                    <a:pt x="449" y="536"/>
                    <a:pt x="449" y="536"/>
                  </a:cubicBezTo>
                  <a:cubicBezTo>
                    <a:pt x="459" y="531"/>
                    <a:pt x="468" y="524"/>
                    <a:pt x="477" y="517"/>
                  </a:cubicBezTo>
                  <a:cubicBezTo>
                    <a:pt x="505" y="552"/>
                    <a:pt x="505" y="552"/>
                    <a:pt x="505" y="552"/>
                  </a:cubicBezTo>
                  <a:cubicBezTo>
                    <a:pt x="511" y="547"/>
                    <a:pt x="516" y="543"/>
                    <a:pt x="522" y="538"/>
                  </a:cubicBezTo>
                  <a:cubicBezTo>
                    <a:pt x="491" y="504"/>
                    <a:pt x="491" y="504"/>
                    <a:pt x="491" y="504"/>
                  </a:cubicBezTo>
                  <a:cubicBezTo>
                    <a:pt x="488" y="506"/>
                    <a:pt x="486" y="508"/>
                    <a:pt x="483" y="510"/>
                  </a:cubicBezTo>
                  <a:close/>
                </a:path>
              </a:pathLst>
            </a:custGeom>
            <a:solidFill>
              <a:srgbClr val="FF67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" name="Freeform 6"/>
            <p:cNvSpPr>
              <a:spLocks noChangeAspect="1" noEditPoints="1"/>
            </p:cNvSpPr>
            <p:nvPr/>
          </p:nvSpPr>
          <p:spPr bwMode="auto">
            <a:xfrm>
              <a:off x="1862" y="1358"/>
              <a:ext cx="3784" cy="491"/>
            </a:xfrm>
            <a:custGeom>
              <a:avLst/>
              <a:gdLst>
                <a:gd name="T0" fmla="*/ 0 w 1600"/>
                <a:gd name="T1" fmla="*/ 202 h 207"/>
                <a:gd name="T2" fmla="*/ 81 w 1600"/>
                <a:gd name="T3" fmla="*/ 175 h 207"/>
                <a:gd name="T4" fmla="*/ 235 w 1600"/>
                <a:gd name="T5" fmla="*/ 202 h 207"/>
                <a:gd name="T6" fmla="*/ 188 w 1600"/>
                <a:gd name="T7" fmla="*/ 18 h 207"/>
                <a:gd name="T8" fmla="*/ 108 w 1600"/>
                <a:gd name="T9" fmla="*/ 131 h 207"/>
                <a:gd name="T10" fmla="*/ 190 w 1600"/>
                <a:gd name="T11" fmla="*/ 131 h 207"/>
                <a:gd name="T12" fmla="*/ 486 w 1600"/>
                <a:gd name="T13" fmla="*/ 19 h 207"/>
                <a:gd name="T14" fmla="*/ 325 w 1600"/>
                <a:gd name="T15" fmla="*/ 202 h 207"/>
                <a:gd name="T16" fmla="*/ 386 w 1600"/>
                <a:gd name="T17" fmla="*/ 158 h 207"/>
                <a:gd name="T18" fmla="*/ 571 w 1600"/>
                <a:gd name="T19" fmla="*/ 89 h 207"/>
                <a:gd name="T20" fmla="*/ 481 w 1600"/>
                <a:gd name="T21" fmla="*/ 116 h 207"/>
                <a:gd name="T22" fmla="*/ 386 w 1600"/>
                <a:gd name="T23" fmla="*/ 65 h 207"/>
                <a:gd name="T24" fmla="*/ 509 w 1600"/>
                <a:gd name="T25" fmla="*/ 90 h 207"/>
                <a:gd name="T26" fmla="*/ 763 w 1600"/>
                <a:gd name="T27" fmla="*/ 19 h 207"/>
                <a:gd name="T28" fmla="*/ 602 w 1600"/>
                <a:gd name="T29" fmla="*/ 202 h 207"/>
                <a:gd name="T30" fmla="*/ 663 w 1600"/>
                <a:gd name="T31" fmla="*/ 158 h 207"/>
                <a:gd name="T32" fmla="*/ 848 w 1600"/>
                <a:gd name="T33" fmla="*/ 89 h 207"/>
                <a:gd name="T34" fmla="*/ 758 w 1600"/>
                <a:gd name="T35" fmla="*/ 116 h 207"/>
                <a:gd name="T36" fmla="*/ 663 w 1600"/>
                <a:gd name="T37" fmla="*/ 65 h 207"/>
                <a:gd name="T38" fmla="*/ 786 w 1600"/>
                <a:gd name="T39" fmla="*/ 90 h 207"/>
                <a:gd name="T40" fmla="*/ 866 w 1600"/>
                <a:gd name="T41" fmla="*/ 19 h 207"/>
                <a:gd name="T42" fmla="*/ 1134 w 1600"/>
                <a:gd name="T43" fmla="*/ 65 h 207"/>
                <a:gd name="T44" fmla="*/ 1030 w 1600"/>
                <a:gd name="T45" fmla="*/ 202 h 207"/>
                <a:gd name="T46" fmla="*/ 969 w 1600"/>
                <a:gd name="T47" fmla="*/ 65 h 207"/>
                <a:gd name="T48" fmla="*/ 866 w 1600"/>
                <a:gd name="T49" fmla="*/ 19 h 207"/>
                <a:gd name="T50" fmla="*/ 1230 w 1600"/>
                <a:gd name="T51" fmla="*/ 19 h 207"/>
                <a:gd name="T52" fmla="*/ 1169 w 1600"/>
                <a:gd name="T53" fmla="*/ 202 h 207"/>
                <a:gd name="T54" fmla="*/ 1416 w 1600"/>
                <a:gd name="T55" fmla="*/ 14 h 207"/>
                <a:gd name="T56" fmla="*/ 1416 w 1600"/>
                <a:gd name="T57" fmla="*/ 207 h 207"/>
                <a:gd name="T58" fmla="*/ 1416 w 1600"/>
                <a:gd name="T59" fmla="*/ 14 h 207"/>
                <a:gd name="T60" fmla="*/ 1332 w 1600"/>
                <a:gd name="T61" fmla="*/ 110 h 207"/>
                <a:gd name="T62" fmla="*/ 1501 w 1600"/>
                <a:gd name="T63" fmla="*/ 111 h 207"/>
                <a:gd name="T64" fmla="*/ 1585 w 1600"/>
                <a:gd name="T65" fmla="*/ 19 h 207"/>
                <a:gd name="T66" fmla="*/ 1589 w 1600"/>
                <a:gd name="T67" fmla="*/ 15 h 207"/>
                <a:gd name="T68" fmla="*/ 1581 w 1600"/>
                <a:gd name="T69" fmla="*/ 9 h 207"/>
                <a:gd name="T70" fmla="*/ 1574 w 1600"/>
                <a:gd name="T71" fmla="*/ 28 h 207"/>
                <a:gd name="T72" fmla="*/ 1578 w 1600"/>
                <a:gd name="T73" fmla="*/ 21 h 207"/>
                <a:gd name="T74" fmla="*/ 1584 w 1600"/>
                <a:gd name="T75" fmla="*/ 23 h 207"/>
                <a:gd name="T76" fmla="*/ 1590 w 1600"/>
                <a:gd name="T77" fmla="*/ 28 h 207"/>
                <a:gd name="T78" fmla="*/ 1585 w 1600"/>
                <a:gd name="T79" fmla="*/ 19 h 207"/>
                <a:gd name="T80" fmla="*/ 1579 w 1600"/>
                <a:gd name="T81" fmla="*/ 18 h 207"/>
                <a:gd name="T82" fmla="*/ 1581 w 1600"/>
                <a:gd name="T83" fmla="*/ 12 h 207"/>
                <a:gd name="T84" fmla="*/ 1580 w 1600"/>
                <a:gd name="T85" fmla="*/ 18 h 207"/>
                <a:gd name="T86" fmla="*/ 1563 w 1600"/>
                <a:gd name="T87" fmla="*/ 18 h 207"/>
                <a:gd name="T88" fmla="*/ 1600 w 1600"/>
                <a:gd name="T89" fmla="*/ 18 h 207"/>
                <a:gd name="T90" fmla="*/ 1581 w 1600"/>
                <a:gd name="T91" fmla="*/ 33 h 207"/>
                <a:gd name="T92" fmla="*/ 1581 w 1600"/>
                <a:gd name="T93" fmla="*/ 4 h 207"/>
                <a:gd name="T94" fmla="*/ 1581 w 1600"/>
                <a:gd name="T95" fmla="*/ 3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00" h="207">
                  <a:moveTo>
                    <a:pt x="115" y="18"/>
                  </a:moveTo>
                  <a:cubicBezTo>
                    <a:pt x="0" y="202"/>
                    <a:pt x="0" y="202"/>
                    <a:pt x="0" y="202"/>
                  </a:cubicBezTo>
                  <a:cubicBezTo>
                    <a:pt x="64" y="202"/>
                    <a:pt x="64" y="202"/>
                    <a:pt x="64" y="202"/>
                  </a:cubicBezTo>
                  <a:cubicBezTo>
                    <a:pt x="81" y="175"/>
                    <a:pt x="81" y="175"/>
                    <a:pt x="81" y="175"/>
                  </a:cubicBezTo>
                  <a:cubicBezTo>
                    <a:pt x="217" y="175"/>
                    <a:pt x="217" y="175"/>
                    <a:pt x="217" y="175"/>
                  </a:cubicBezTo>
                  <a:cubicBezTo>
                    <a:pt x="235" y="202"/>
                    <a:pt x="235" y="202"/>
                    <a:pt x="235" y="202"/>
                  </a:cubicBezTo>
                  <a:cubicBezTo>
                    <a:pt x="303" y="202"/>
                    <a:pt x="303" y="202"/>
                    <a:pt x="303" y="202"/>
                  </a:cubicBezTo>
                  <a:cubicBezTo>
                    <a:pt x="188" y="18"/>
                    <a:pt x="188" y="18"/>
                    <a:pt x="188" y="18"/>
                  </a:cubicBezTo>
                  <a:lnTo>
                    <a:pt x="115" y="18"/>
                  </a:lnTo>
                  <a:close/>
                  <a:moveTo>
                    <a:pt x="108" y="131"/>
                  </a:moveTo>
                  <a:cubicBezTo>
                    <a:pt x="149" y="65"/>
                    <a:pt x="149" y="65"/>
                    <a:pt x="149" y="65"/>
                  </a:cubicBezTo>
                  <a:cubicBezTo>
                    <a:pt x="190" y="131"/>
                    <a:pt x="190" y="131"/>
                    <a:pt x="190" y="131"/>
                  </a:cubicBezTo>
                  <a:lnTo>
                    <a:pt x="108" y="131"/>
                  </a:lnTo>
                  <a:close/>
                  <a:moveTo>
                    <a:pt x="486" y="19"/>
                  </a:moveTo>
                  <a:cubicBezTo>
                    <a:pt x="325" y="19"/>
                    <a:pt x="325" y="19"/>
                    <a:pt x="325" y="19"/>
                  </a:cubicBezTo>
                  <a:cubicBezTo>
                    <a:pt x="325" y="202"/>
                    <a:pt x="325" y="202"/>
                    <a:pt x="325" y="202"/>
                  </a:cubicBezTo>
                  <a:cubicBezTo>
                    <a:pt x="386" y="202"/>
                    <a:pt x="386" y="202"/>
                    <a:pt x="386" y="202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96" y="158"/>
                    <a:pt x="468" y="158"/>
                    <a:pt x="485" y="158"/>
                  </a:cubicBezTo>
                  <a:cubicBezTo>
                    <a:pt x="535" y="158"/>
                    <a:pt x="571" y="146"/>
                    <a:pt x="571" y="89"/>
                  </a:cubicBezTo>
                  <a:cubicBezTo>
                    <a:pt x="571" y="31"/>
                    <a:pt x="535" y="19"/>
                    <a:pt x="486" y="19"/>
                  </a:cubicBezTo>
                  <a:close/>
                  <a:moveTo>
                    <a:pt x="481" y="116"/>
                  </a:moveTo>
                  <a:cubicBezTo>
                    <a:pt x="468" y="116"/>
                    <a:pt x="397" y="116"/>
                    <a:pt x="386" y="116"/>
                  </a:cubicBezTo>
                  <a:cubicBezTo>
                    <a:pt x="386" y="65"/>
                    <a:pt x="386" y="65"/>
                    <a:pt x="386" y="65"/>
                  </a:cubicBezTo>
                  <a:cubicBezTo>
                    <a:pt x="386" y="65"/>
                    <a:pt x="463" y="65"/>
                    <a:pt x="480" y="65"/>
                  </a:cubicBezTo>
                  <a:cubicBezTo>
                    <a:pt x="503" y="65"/>
                    <a:pt x="509" y="71"/>
                    <a:pt x="509" y="90"/>
                  </a:cubicBezTo>
                  <a:cubicBezTo>
                    <a:pt x="509" y="110"/>
                    <a:pt x="503" y="116"/>
                    <a:pt x="481" y="116"/>
                  </a:cubicBezTo>
                  <a:close/>
                  <a:moveTo>
                    <a:pt x="763" y="19"/>
                  </a:moveTo>
                  <a:cubicBezTo>
                    <a:pt x="602" y="19"/>
                    <a:pt x="602" y="19"/>
                    <a:pt x="602" y="19"/>
                  </a:cubicBezTo>
                  <a:cubicBezTo>
                    <a:pt x="602" y="202"/>
                    <a:pt x="602" y="202"/>
                    <a:pt x="602" y="202"/>
                  </a:cubicBezTo>
                  <a:cubicBezTo>
                    <a:pt x="663" y="202"/>
                    <a:pt x="663" y="202"/>
                    <a:pt x="663" y="202"/>
                  </a:cubicBezTo>
                  <a:cubicBezTo>
                    <a:pt x="663" y="158"/>
                    <a:pt x="663" y="158"/>
                    <a:pt x="663" y="158"/>
                  </a:cubicBezTo>
                  <a:cubicBezTo>
                    <a:pt x="673" y="158"/>
                    <a:pt x="745" y="158"/>
                    <a:pt x="762" y="158"/>
                  </a:cubicBezTo>
                  <a:cubicBezTo>
                    <a:pt x="812" y="158"/>
                    <a:pt x="848" y="146"/>
                    <a:pt x="848" y="89"/>
                  </a:cubicBezTo>
                  <a:cubicBezTo>
                    <a:pt x="848" y="31"/>
                    <a:pt x="812" y="19"/>
                    <a:pt x="763" y="19"/>
                  </a:cubicBezTo>
                  <a:close/>
                  <a:moveTo>
                    <a:pt x="758" y="116"/>
                  </a:moveTo>
                  <a:cubicBezTo>
                    <a:pt x="745" y="116"/>
                    <a:pt x="674" y="116"/>
                    <a:pt x="663" y="116"/>
                  </a:cubicBezTo>
                  <a:cubicBezTo>
                    <a:pt x="663" y="65"/>
                    <a:pt x="663" y="65"/>
                    <a:pt x="663" y="65"/>
                  </a:cubicBezTo>
                  <a:cubicBezTo>
                    <a:pt x="663" y="65"/>
                    <a:pt x="740" y="65"/>
                    <a:pt x="757" y="65"/>
                  </a:cubicBezTo>
                  <a:cubicBezTo>
                    <a:pt x="780" y="65"/>
                    <a:pt x="786" y="71"/>
                    <a:pt x="786" y="90"/>
                  </a:cubicBezTo>
                  <a:cubicBezTo>
                    <a:pt x="786" y="110"/>
                    <a:pt x="780" y="116"/>
                    <a:pt x="758" y="116"/>
                  </a:cubicBezTo>
                  <a:close/>
                  <a:moveTo>
                    <a:pt x="866" y="19"/>
                  </a:moveTo>
                  <a:cubicBezTo>
                    <a:pt x="1134" y="19"/>
                    <a:pt x="1134" y="19"/>
                    <a:pt x="1134" y="19"/>
                  </a:cubicBezTo>
                  <a:cubicBezTo>
                    <a:pt x="1134" y="65"/>
                    <a:pt x="1134" y="65"/>
                    <a:pt x="1134" y="65"/>
                  </a:cubicBezTo>
                  <a:cubicBezTo>
                    <a:pt x="1030" y="65"/>
                    <a:pt x="1030" y="65"/>
                    <a:pt x="1030" y="65"/>
                  </a:cubicBezTo>
                  <a:cubicBezTo>
                    <a:pt x="1030" y="202"/>
                    <a:pt x="1030" y="202"/>
                    <a:pt x="1030" y="202"/>
                  </a:cubicBezTo>
                  <a:cubicBezTo>
                    <a:pt x="969" y="202"/>
                    <a:pt x="969" y="202"/>
                    <a:pt x="969" y="202"/>
                  </a:cubicBezTo>
                  <a:cubicBezTo>
                    <a:pt x="969" y="65"/>
                    <a:pt x="969" y="65"/>
                    <a:pt x="969" y="65"/>
                  </a:cubicBezTo>
                  <a:cubicBezTo>
                    <a:pt x="866" y="65"/>
                    <a:pt x="866" y="65"/>
                    <a:pt x="866" y="65"/>
                  </a:cubicBezTo>
                  <a:lnTo>
                    <a:pt x="866" y="19"/>
                  </a:lnTo>
                  <a:close/>
                  <a:moveTo>
                    <a:pt x="1169" y="19"/>
                  </a:moveTo>
                  <a:cubicBezTo>
                    <a:pt x="1230" y="19"/>
                    <a:pt x="1230" y="19"/>
                    <a:pt x="1230" y="19"/>
                  </a:cubicBezTo>
                  <a:cubicBezTo>
                    <a:pt x="1230" y="202"/>
                    <a:pt x="1230" y="202"/>
                    <a:pt x="1230" y="202"/>
                  </a:cubicBezTo>
                  <a:cubicBezTo>
                    <a:pt x="1169" y="202"/>
                    <a:pt x="1169" y="202"/>
                    <a:pt x="1169" y="202"/>
                  </a:cubicBezTo>
                  <a:lnTo>
                    <a:pt x="1169" y="19"/>
                  </a:lnTo>
                  <a:close/>
                  <a:moveTo>
                    <a:pt x="1416" y="14"/>
                  </a:moveTo>
                  <a:cubicBezTo>
                    <a:pt x="1312" y="14"/>
                    <a:pt x="1265" y="30"/>
                    <a:pt x="1265" y="111"/>
                  </a:cubicBezTo>
                  <a:cubicBezTo>
                    <a:pt x="1265" y="191"/>
                    <a:pt x="1311" y="207"/>
                    <a:pt x="1416" y="207"/>
                  </a:cubicBezTo>
                  <a:cubicBezTo>
                    <a:pt x="1520" y="207"/>
                    <a:pt x="1567" y="191"/>
                    <a:pt x="1567" y="110"/>
                  </a:cubicBezTo>
                  <a:cubicBezTo>
                    <a:pt x="1567" y="30"/>
                    <a:pt x="1520" y="14"/>
                    <a:pt x="1416" y="14"/>
                  </a:cubicBezTo>
                  <a:close/>
                  <a:moveTo>
                    <a:pt x="1416" y="162"/>
                  </a:moveTo>
                  <a:cubicBezTo>
                    <a:pt x="1350" y="162"/>
                    <a:pt x="1332" y="158"/>
                    <a:pt x="1332" y="110"/>
                  </a:cubicBezTo>
                  <a:cubicBezTo>
                    <a:pt x="1332" y="63"/>
                    <a:pt x="1350" y="60"/>
                    <a:pt x="1416" y="60"/>
                  </a:cubicBezTo>
                  <a:cubicBezTo>
                    <a:pt x="1481" y="60"/>
                    <a:pt x="1501" y="63"/>
                    <a:pt x="1501" y="111"/>
                  </a:cubicBezTo>
                  <a:cubicBezTo>
                    <a:pt x="1501" y="158"/>
                    <a:pt x="1483" y="162"/>
                    <a:pt x="1416" y="162"/>
                  </a:cubicBezTo>
                  <a:close/>
                  <a:moveTo>
                    <a:pt x="1585" y="19"/>
                  </a:moveTo>
                  <a:cubicBezTo>
                    <a:pt x="1585" y="19"/>
                    <a:pt x="1585" y="19"/>
                    <a:pt x="1585" y="19"/>
                  </a:cubicBezTo>
                  <a:cubicBezTo>
                    <a:pt x="1588" y="18"/>
                    <a:pt x="1589" y="17"/>
                    <a:pt x="1589" y="15"/>
                  </a:cubicBezTo>
                  <a:cubicBezTo>
                    <a:pt x="1589" y="13"/>
                    <a:pt x="1588" y="11"/>
                    <a:pt x="1587" y="11"/>
                  </a:cubicBezTo>
                  <a:cubicBezTo>
                    <a:pt x="1586" y="10"/>
                    <a:pt x="1585" y="9"/>
                    <a:pt x="1581" y="9"/>
                  </a:cubicBezTo>
                  <a:cubicBezTo>
                    <a:pt x="1578" y="9"/>
                    <a:pt x="1576" y="9"/>
                    <a:pt x="1574" y="10"/>
                  </a:cubicBezTo>
                  <a:cubicBezTo>
                    <a:pt x="1574" y="28"/>
                    <a:pt x="1574" y="28"/>
                    <a:pt x="1574" y="28"/>
                  </a:cubicBezTo>
                  <a:cubicBezTo>
                    <a:pt x="1578" y="28"/>
                    <a:pt x="1578" y="28"/>
                    <a:pt x="1578" y="28"/>
                  </a:cubicBezTo>
                  <a:cubicBezTo>
                    <a:pt x="1578" y="21"/>
                    <a:pt x="1578" y="21"/>
                    <a:pt x="1578" y="21"/>
                  </a:cubicBezTo>
                  <a:cubicBezTo>
                    <a:pt x="1580" y="21"/>
                    <a:pt x="1580" y="21"/>
                    <a:pt x="1580" y="21"/>
                  </a:cubicBezTo>
                  <a:cubicBezTo>
                    <a:pt x="1583" y="21"/>
                    <a:pt x="1584" y="22"/>
                    <a:pt x="1584" y="23"/>
                  </a:cubicBezTo>
                  <a:cubicBezTo>
                    <a:pt x="1585" y="26"/>
                    <a:pt x="1585" y="27"/>
                    <a:pt x="1586" y="28"/>
                  </a:cubicBezTo>
                  <a:cubicBezTo>
                    <a:pt x="1590" y="28"/>
                    <a:pt x="1590" y="28"/>
                    <a:pt x="1590" y="28"/>
                  </a:cubicBezTo>
                  <a:cubicBezTo>
                    <a:pt x="1590" y="27"/>
                    <a:pt x="1589" y="26"/>
                    <a:pt x="1589" y="23"/>
                  </a:cubicBezTo>
                  <a:cubicBezTo>
                    <a:pt x="1588" y="21"/>
                    <a:pt x="1587" y="20"/>
                    <a:pt x="1585" y="19"/>
                  </a:cubicBezTo>
                  <a:close/>
                  <a:moveTo>
                    <a:pt x="1580" y="18"/>
                  </a:moveTo>
                  <a:cubicBezTo>
                    <a:pt x="1579" y="18"/>
                    <a:pt x="1579" y="18"/>
                    <a:pt x="1579" y="18"/>
                  </a:cubicBezTo>
                  <a:cubicBezTo>
                    <a:pt x="1579" y="12"/>
                    <a:pt x="1579" y="12"/>
                    <a:pt x="1579" y="12"/>
                  </a:cubicBezTo>
                  <a:cubicBezTo>
                    <a:pt x="1579" y="12"/>
                    <a:pt x="1580" y="12"/>
                    <a:pt x="1581" y="12"/>
                  </a:cubicBezTo>
                  <a:cubicBezTo>
                    <a:pt x="1583" y="12"/>
                    <a:pt x="1585" y="13"/>
                    <a:pt x="1585" y="15"/>
                  </a:cubicBezTo>
                  <a:cubicBezTo>
                    <a:pt x="1585" y="17"/>
                    <a:pt x="1583" y="18"/>
                    <a:pt x="1580" y="18"/>
                  </a:cubicBezTo>
                  <a:close/>
                  <a:moveTo>
                    <a:pt x="1581" y="0"/>
                  </a:moveTo>
                  <a:cubicBezTo>
                    <a:pt x="1571" y="0"/>
                    <a:pt x="1563" y="8"/>
                    <a:pt x="1563" y="18"/>
                  </a:cubicBezTo>
                  <a:cubicBezTo>
                    <a:pt x="1563" y="29"/>
                    <a:pt x="1571" y="37"/>
                    <a:pt x="1581" y="37"/>
                  </a:cubicBezTo>
                  <a:cubicBezTo>
                    <a:pt x="1592" y="37"/>
                    <a:pt x="1600" y="29"/>
                    <a:pt x="1600" y="18"/>
                  </a:cubicBezTo>
                  <a:cubicBezTo>
                    <a:pt x="1600" y="8"/>
                    <a:pt x="1592" y="0"/>
                    <a:pt x="1581" y="0"/>
                  </a:cubicBezTo>
                  <a:close/>
                  <a:moveTo>
                    <a:pt x="1581" y="33"/>
                  </a:moveTo>
                  <a:cubicBezTo>
                    <a:pt x="1573" y="33"/>
                    <a:pt x="1567" y="26"/>
                    <a:pt x="1567" y="18"/>
                  </a:cubicBezTo>
                  <a:cubicBezTo>
                    <a:pt x="1567" y="10"/>
                    <a:pt x="1573" y="4"/>
                    <a:pt x="1581" y="4"/>
                  </a:cubicBezTo>
                  <a:cubicBezTo>
                    <a:pt x="1589" y="4"/>
                    <a:pt x="1595" y="10"/>
                    <a:pt x="1595" y="19"/>
                  </a:cubicBezTo>
                  <a:cubicBezTo>
                    <a:pt x="1595" y="26"/>
                    <a:pt x="1589" y="33"/>
                    <a:pt x="1581" y="3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3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-1651" y="3"/>
            <a:ext cx="9145651" cy="685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436962" y="4879549"/>
            <a:ext cx="209773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75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62" fontAlgn="auto">
              <a:spcBef>
                <a:spcPts val="0"/>
              </a:spcBef>
              <a:spcAft>
                <a:spcPts val="0"/>
              </a:spcAft>
            </a:pPr>
            <a:r>
              <a:rPr lang="en-US" sz="675" dirty="0">
                <a:solidFill>
                  <a:srgbClr val="7E848B"/>
                </a:solidFill>
                <a:ea typeface="+mn-ea"/>
              </a:rPr>
              <a:t>© 2019 Apptio, All rights reserved (v2.6)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-1192" y="4879549"/>
            <a:ext cx="33909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8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62" fontAlgn="auto">
              <a:spcBef>
                <a:spcPts val="0"/>
              </a:spcBef>
              <a:spcAft>
                <a:spcPts val="0"/>
              </a:spcAft>
            </a:pPr>
            <a:fld id="{4C1362D4-5ABD-4326-94E6-7A5ADE3C9964}" type="slidenum">
              <a:rPr lang="en-US" sz="788" smtClean="0">
                <a:solidFill>
                  <a:srgbClr val="FF661C"/>
                </a:solidFill>
                <a:ea typeface="+mn-ea"/>
              </a:rPr>
              <a:pPr defTabSz="91366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88" dirty="0">
              <a:solidFill>
                <a:srgbClr val="FF661C"/>
              </a:solidFill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3" y="914403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17942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4" r:id="rId1"/>
    <p:sldLayoutId id="2147484079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913662" rtl="0" eaLnBrk="1" latinLnBrk="0" hangingPunct="1">
        <a:lnSpc>
          <a:spcPct val="80000"/>
        </a:lnSpc>
        <a:spcBef>
          <a:spcPct val="0"/>
        </a:spcBef>
        <a:buNone/>
        <a:defRPr sz="3000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07" indent="-274307" algn="l" defTabSz="913662" rtl="0" eaLnBrk="1" latinLnBrk="0" hangingPunct="1">
        <a:spcBef>
          <a:spcPct val="20000"/>
        </a:spcBef>
        <a:buClr>
          <a:schemeClr val="accent1"/>
        </a:buClr>
        <a:buSzPct val="80000"/>
        <a:buFont typeface="Wingdings 3" panose="05040102010807070707" pitchFamily="18" charset="2"/>
        <a:buChar char="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47" indent="-228588" algn="l" defTabSz="913662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25" indent="-176204" algn="l" defTabSz="913662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090" indent="-153980" algn="l" defTabSz="913662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2944" indent="-125407" algn="l" defTabSz="913662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565" indent="-228422" algn="l" defTabSz="913662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398" indent="-228422" algn="l" defTabSz="913662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227" indent="-228422" algn="l" defTabSz="913662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059" indent="-228422" algn="l" defTabSz="913662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30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62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494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23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148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0985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812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640" algn="l" defTabSz="9136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436961" y="4879548"/>
            <a:ext cx="3068239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75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85" fontAlgn="auto">
              <a:spcBef>
                <a:spcPts val="0"/>
              </a:spcBef>
              <a:spcAft>
                <a:spcPts val="0"/>
              </a:spcAft>
            </a:pPr>
            <a:r>
              <a:rPr lang="en-US" sz="600" dirty="0">
                <a:solidFill>
                  <a:srgbClr val="7E848B"/>
                </a:solidFill>
              </a:rPr>
              <a:t>© 2016 Technology Business Management Council, All rights reserved (v2.5)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-1192" y="4879548"/>
            <a:ext cx="33909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8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85" fontAlgn="auto">
              <a:spcBef>
                <a:spcPts val="0"/>
              </a:spcBef>
              <a:spcAft>
                <a:spcPts val="0"/>
              </a:spcAft>
            </a:pPr>
            <a:fld id="{4C1362D4-5ABD-4326-94E6-7A5ADE3C9964}" type="slidenum">
              <a:rPr lang="en-US" sz="700" smtClean="0">
                <a:solidFill>
                  <a:srgbClr val="0D96C9"/>
                </a:solidFill>
              </a:rPr>
              <a:pPr defTabSz="91368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>
              <a:solidFill>
                <a:srgbClr val="0D96C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2" y="914402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7721601" y="4855434"/>
            <a:ext cx="1143001" cy="186415"/>
            <a:chOff x="2498725" y="0"/>
            <a:chExt cx="4146551" cy="676276"/>
          </a:xfrm>
        </p:grpSpPr>
        <p:sp>
          <p:nvSpPr>
            <p:cNvPr id="17" name="Freeform 5"/>
            <p:cNvSpPr>
              <a:spLocks noChangeAspect="1" noEditPoints="1"/>
            </p:cNvSpPr>
            <p:nvPr/>
          </p:nvSpPr>
          <p:spPr bwMode="auto">
            <a:xfrm>
              <a:off x="3443288" y="239713"/>
              <a:ext cx="3201988" cy="249238"/>
            </a:xfrm>
            <a:custGeom>
              <a:avLst/>
              <a:gdLst>
                <a:gd name="T0" fmla="*/ 1991 w 33994"/>
                <a:gd name="T1" fmla="*/ 64 h 2645"/>
                <a:gd name="T2" fmla="*/ 1273 w 33994"/>
                <a:gd name="T3" fmla="*/ 555 h 2645"/>
                <a:gd name="T4" fmla="*/ 718 w 33994"/>
                <a:gd name="T5" fmla="*/ 2581 h 2645"/>
                <a:gd name="T6" fmla="*/ 0 w 33994"/>
                <a:gd name="T7" fmla="*/ 555 h 2645"/>
                <a:gd name="T8" fmla="*/ 5171 w 33994"/>
                <a:gd name="T9" fmla="*/ 1881 h 2645"/>
                <a:gd name="T10" fmla="*/ 3195 w 33994"/>
                <a:gd name="T11" fmla="*/ 2581 h 2645"/>
                <a:gd name="T12" fmla="*/ 4133 w 33994"/>
                <a:gd name="T13" fmla="*/ 64 h 2645"/>
                <a:gd name="T14" fmla="*/ 4620 w 33994"/>
                <a:gd name="T15" fmla="*/ 1259 h 2645"/>
                <a:gd name="T16" fmla="*/ 5171 w 33994"/>
                <a:gd name="T17" fmla="*/ 1881 h 2645"/>
                <a:gd name="T18" fmla="*/ 4151 w 33994"/>
                <a:gd name="T19" fmla="*/ 1070 h 2645"/>
                <a:gd name="T20" fmla="*/ 4126 w 33994"/>
                <a:gd name="T21" fmla="*/ 534 h 2645"/>
                <a:gd name="T22" fmla="*/ 3749 w 33994"/>
                <a:gd name="T23" fmla="*/ 1070 h 2645"/>
                <a:gd name="T24" fmla="*/ 4169 w 33994"/>
                <a:gd name="T25" fmla="*/ 1540 h 2645"/>
                <a:gd name="T26" fmla="*/ 3749 w 33994"/>
                <a:gd name="T27" fmla="*/ 2112 h 2645"/>
                <a:gd name="T28" fmla="*/ 4617 w 33994"/>
                <a:gd name="T29" fmla="*/ 1817 h 2645"/>
                <a:gd name="T30" fmla="*/ 7697 w 33994"/>
                <a:gd name="T31" fmla="*/ 1707 h 2645"/>
                <a:gd name="T32" fmla="*/ 6279 w 33994"/>
                <a:gd name="T33" fmla="*/ 64 h 2645"/>
                <a:gd name="T34" fmla="*/ 6833 w 33994"/>
                <a:gd name="T35" fmla="*/ 2581 h 2645"/>
                <a:gd name="T36" fmla="*/ 6840 w 33994"/>
                <a:gd name="T37" fmla="*/ 651 h 2645"/>
                <a:gd name="T38" fmla="*/ 7900 w 33994"/>
                <a:gd name="T39" fmla="*/ 2581 h 2645"/>
                <a:gd name="T40" fmla="*/ 8568 w 33994"/>
                <a:gd name="T41" fmla="*/ 651 h 2645"/>
                <a:gd name="T42" fmla="*/ 9123 w 33994"/>
                <a:gd name="T43" fmla="*/ 2581 h 2645"/>
                <a:gd name="T44" fmla="*/ 8287 w 33994"/>
                <a:gd name="T45" fmla="*/ 64 h 2645"/>
                <a:gd name="T46" fmla="*/ 13062 w 33994"/>
                <a:gd name="T47" fmla="*/ 2411 h 2645"/>
                <a:gd name="T48" fmla="*/ 13062 w 33994"/>
                <a:gd name="T49" fmla="*/ 235 h 2645"/>
                <a:gd name="T50" fmla="*/ 13933 w 33994"/>
                <a:gd name="T51" fmla="*/ 399 h 2645"/>
                <a:gd name="T52" fmla="*/ 11751 w 33994"/>
                <a:gd name="T53" fmla="*/ 1323 h 2645"/>
                <a:gd name="T54" fmla="*/ 13994 w 33994"/>
                <a:gd name="T55" fmla="*/ 2183 h 2645"/>
                <a:gd name="T56" fmla="*/ 13062 w 33994"/>
                <a:gd name="T57" fmla="*/ 2411 h 2645"/>
                <a:gd name="T58" fmla="*/ 16559 w 33994"/>
                <a:gd name="T59" fmla="*/ 2645 h 2645"/>
                <a:gd name="T60" fmla="*/ 16559 w 33994"/>
                <a:gd name="T61" fmla="*/ 0 h 2645"/>
                <a:gd name="T62" fmla="*/ 17593 w 33994"/>
                <a:gd name="T63" fmla="*/ 1323 h 2645"/>
                <a:gd name="T64" fmla="*/ 15524 w 33994"/>
                <a:gd name="T65" fmla="*/ 1323 h 2645"/>
                <a:gd name="T66" fmla="*/ 17593 w 33994"/>
                <a:gd name="T67" fmla="*/ 1323 h 2645"/>
                <a:gd name="T68" fmla="*/ 20254 w 33994"/>
                <a:gd name="T69" fmla="*/ 2411 h 2645"/>
                <a:gd name="T70" fmla="*/ 19589 w 33994"/>
                <a:gd name="T71" fmla="*/ 64 h 2645"/>
                <a:gd name="T72" fmla="*/ 19333 w 33994"/>
                <a:gd name="T73" fmla="*/ 1643 h 2645"/>
                <a:gd name="T74" fmla="*/ 21175 w 33994"/>
                <a:gd name="T75" fmla="*/ 1643 h 2645"/>
                <a:gd name="T76" fmla="*/ 20919 w 33994"/>
                <a:gd name="T77" fmla="*/ 64 h 2645"/>
                <a:gd name="T78" fmla="*/ 24777 w 33994"/>
                <a:gd name="T79" fmla="*/ 2197 h 2645"/>
                <a:gd name="T80" fmla="*/ 23270 w 33994"/>
                <a:gd name="T81" fmla="*/ 64 h 2645"/>
                <a:gd name="T82" fmla="*/ 22950 w 33994"/>
                <a:gd name="T83" fmla="*/ 2581 h 2645"/>
                <a:gd name="T84" fmla="*/ 23206 w 33994"/>
                <a:gd name="T85" fmla="*/ 427 h 2645"/>
                <a:gd name="T86" fmla="*/ 24713 w 33994"/>
                <a:gd name="T87" fmla="*/ 2581 h 2645"/>
                <a:gd name="T88" fmla="*/ 25033 w 33994"/>
                <a:gd name="T89" fmla="*/ 64 h 2645"/>
                <a:gd name="T90" fmla="*/ 24777 w 33994"/>
                <a:gd name="T91" fmla="*/ 2197 h 2645"/>
                <a:gd name="T92" fmla="*/ 26958 w 33994"/>
                <a:gd name="T93" fmla="*/ 1323 h 2645"/>
                <a:gd name="T94" fmla="*/ 28640 w 33994"/>
                <a:gd name="T95" fmla="*/ 566 h 2645"/>
                <a:gd name="T96" fmla="*/ 27993 w 33994"/>
                <a:gd name="T97" fmla="*/ 0 h 2645"/>
                <a:gd name="T98" fmla="*/ 27993 w 33994"/>
                <a:gd name="T99" fmla="*/ 2645 h 2645"/>
                <a:gd name="T100" fmla="*/ 28714 w 33994"/>
                <a:gd name="T101" fmla="*/ 2034 h 2645"/>
                <a:gd name="T102" fmla="*/ 30490 w 33994"/>
                <a:gd name="T103" fmla="*/ 2581 h 2645"/>
                <a:gd name="T104" fmla="*/ 30746 w 33994"/>
                <a:gd name="T105" fmla="*/ 64 h 2645"/>
                <a:gd name="T106" fmla="*/ 30490 w 33994"/>
                <a:gd name="T107" fmla="*/ 2581 h 2645"/>
                <a:gd name="T108" fmla="*/ 32821 w 33994"/>
                <a:gd name="T109" fmla="*/ 64 h 2645"/>
                <a:gd name="T110" fmla="*/ 32565 w 33994"/>
                <a:gd name="T111" fmla="*/ 2581 h 2645"/>
                <a:gd name="T112" fmla="*/ 33994 w 33994"/>
                <a:gd name="T113" fmla="*/ 2347 h 2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994" h="2645">
                  <a:moveTo>
                    <a:pt x="0" y="64"/>
                  </a:moveTo>
                  <a:cubicBezTo>
                    <a:pt x="1991" y="64"/>
                    <a:pt x="1991" y="64"/>
                    <a:pt x="1991" y="64"/>
                  </a:cubicBezTo>
                  <a:cubicBezTo>
                    <a:pt x="1991" y="555"/>
                    <a:pt x="1991" y="555"/>
                    <a:pt x="1991" y="555"/>
                  </a:cubicBezTo>
                  <a:cubicBezTo>
                    <a:pt x="1273" y="555"/>
                    <a:pt x="1273" y="555"/>
                    <a:pt x="1273" y="555"/>
                  </a:cubicBezTo>
                  <a:cubicBezTo>
                    <a:pt x="1273" y="2581"/>
                    <a:pt x="1273" y="2581"/>
                    <a:pt x="1273" y="2581"/>
                  </a:cubicBezTo>
                  <a:cubicBezTo>
                    <a:pt x="718" y="2581"/>
                    <a:pt x="718" y="2581"/>
                    <a:pt x="718" y="2581"/>
                  </a:cubicBezTo>
                  <a:cubicBezTo>
                    <a:pt x="718" y="555"/>
                    <a:pt x="718" y="555"/>
                    <a:pt x="718" y="555"/>
                  </a:cubicBezTo>
                  <a:cubicBezTo>
                    <a:pt x="0" y="555"/>
                    <a:pt x="0" y="555"/>
                    <a:pt x="0" y="555"/>
                  </a:cubicBezTo>
                  <a:lnTo>
                    <a:pt x="0" y="64"/>
                  </a:lnTo>
                  <a:close/>
                  <a:moveTo>
                    <a:pt x="5171" y="1881"/>
                  </a:moveTo>
                  <a:cubicBezTo>
                    <a:pt x="5171" y="2407"/>
                    <a:pt x="4673" y="2581"/>
                    <a:pt x="4225" y="2581"/>
                  </a:cubicBezTo>
                  <a:cubicBezTo>
                    <a:pt x="3195" y="2581"/>
                    <a:pt x="3195" y="2581"/>
                    <a:pt x="3195" y="2581"/>
                  </a:cubicBezTo>
                  <a:cubicBezTo>
                    <a:pt x="3195" y="64"/>
                    <a:pt x="3195" y="64"/>
                    <a:pt x="3195" y="64"/>
                  </a:cubicBezTo>
                  <a:cubicBezTo>
                    <a:pt x="4133" y="64"/>
                    <a:pt x="4133" y="64"/>
                    <a:pt x="4133" y="64"/>
                  </a:cubicBezTo>
                  <a:cubicBezTo>
                    <a:pt x="4574" y="64"/>
                    <a:pt x="5054" y="157"/>
                    <a:pt x="5054" y="704"/>
                  </a:cubicBezTo>
                  <a:cubicBezTo>
                    <a:pt x="5054" y="985"/>
                    <a:pt x="4880" y="1177"/>
                    <a:pt x="4620" y="1259"/>
                  </a:cubicBezTo>
                  <a:cubicBezTo>
                    <a:pt x="4620" y="1266"/>
                    <a:pt x="4620" y="1266"/>
                    <a:pt x="4620" y="1266"/>
                  </a:cubicBezTo>
                  <a:cubicBezTo>
                    <a:pt x="4951" y="1309"/>
                    <a:pt x="5171" y="1554"/>
                    <a:pt x="5171" y="1881"/>
                  </a:cubicBezTo>
                  <a:close/>
                  <a:moveTo>
                    <a:pt x="3749" y="1070"/>
                  </a:moveTo>
                  <a:cubicBezTo>
                    <a:pt x="4151" y="1070"/>
                    <a:pt x="4151" y="1070"/>
                    <a:pt x="4151" y="1070"/>
                  </a:cubicBezTo>
                  <a:cubicBezTo>
                    <a:pt x="4321" y="1070"/>
                    <a:pt x="4499" y="999"/>
                    <a:pt x="4499" y="797"/>
                  </a:cubicBezTo>
                  <a:cubicBezTo>
                    <a:pt x="4499" y="587"/>
                    <a:pt x="4300" y="534"/>
                    <a:pt x="4126" y="534"/>
                  </a:cubicBezTo>
                  <a:cubicBezTo>
                    <a:pt x="3749" y="534"/>
                    <a:pt x="3749" y="534"/>
                    <a:pt x="3749" y="534"/>
                  </a:cubicBezTo>
                  <a:lnTo>
                    <a:pt x="3749" y="1070"/>
                  </a:lnTo>
                  <a:close/>
                  <a:moveTo>
                    <a:pt x="4617" y="1817"/>
                  </a:moveTo>
                  <a:cubicBezTo>
                    <a:pt x="4617" y="1579"/>
                    <a:pt x="4350" y="1540"/>
                    <a:pt x="4169" y="1540"/>
                  </a:cubicBezTo>
                  <a:cubicBezTo>
                    <a:pt x="3749" y="1540"/>
                    <a:pt x="3749" y="1540"/>
                    <a:pt x="3749" y="1540"/>
                  </a:cubicBezTo>
                  <a:cubicBezTo>
                    <a:pt x="3749" y="2112"/>
                    <a:pt x="3749" y="2112"/>
                    <a:pt x="3749" y="2112"/>
                  </a:cubicBezTo>
                  <a:cubicBezTo>
                    <a:pt x="4247" y="2112"/>
                    <a:pt x="4247" y="2112"/>
                    <a:pt x="4247" y="2112"/>
                  </a:cubicBezTo>
                  <a:cubicBezTo>
                    <a:pt x="4421" y="2112"/>
                    <a:pt x="4617" y="2037"/>
                    <a:pt x="4617" y="1817"/>
                  </a:cubicBezTo>
                  <a:close/>
                  <a:moveTo>
                    <a:pt x="7704" y="1707"/>
                  </a:moveTo>
                  <a:cubicBezTo>
                    <a:pt x="7697" y="1707"/>
                    <a:pt x="7697" y="1707"/>
                    <a:pt x="7697" y="1707"/>
                  </a:cubicBezTo>
                  <a:cubicBezTo>
                    <a:pt x="7118" y="64"/>
                    <a:pt x="7118" y="64"/>
                    <a:pt x="7118" y="64"/>
                  </a:cubicBezTo>
                  <a:cubicBezTo>
                    <a:pt x="6279" y="64"/>
                    <a:pt x="6279" y="64"/>
                    <a:pt x="6279" y="64"/>
                  </a:cubicBezTo>
                  <a:cubicBezTo>
                    <a:pt x="6279" y="2581"/>
                    <a:pt x="6279" y="2581"/>
                    <a:pt x="6279" y="2581"/>
                  </a:cubicBezTo>
                  <a:cubicBezTo>
                    <a:pt x="6833" y="2581"/>
                    <a:pt x="6833" y="2581"/>
                    <a:pt x="6833" y="2581"/>
                  </a:cubicBezTo>
                  <a:cubicBezTo>
                    <a:pt x="6833" y="651"/>
                    <a:pt x="6833" y="651"/>
                    <a:pt x="6833" y="651"/>
                  </a:cubicBezTo>
                  <a:cubicBezTo>
                    <a:pt x="6840" y="651"/>
                    <a:pt x="6840" y="651"/>
                    <a:pt x="6840" y="651"/>
                  </a:cubicBezTo>
                  <a:cubicBezTo>
                    <a:pt x="7477" y="2581"/>
                    <a:pt x="7477" y="2581"/>
                    <a:pt x="7477" y="2581"/>
                  </a:cubicBezTo>
                  <a:cubicBezTo>
                    <a:pt x="7900" y="2581"/>
                    <a:pt x="7900" y="2581"/>
                    <a:pt x="7900" y="2581"/>
                  </a:cubicBezTo>
                  <a:cubicBezTo>
                    <a:pt x="8561" y="651"/>
                    <a:pt x="8561" y="651"/>
                    <a:pt x="8561" y="651"/>
                  </a:cubicBezTo>
                  <a:cubicBezTo>
                    <a:pt x="8568" y="651"/>
                    <a:pt x="8568" y="651"/>
                    <a:pt x="8568" y="651"/>
                  </a:cubicBezTo>
                  <a:cubicBezTo>
                    <a:pt x="8568" y="2581"/>
                    <a:pt x="8568" y="2581"/>
                    <a:pt x="8568" y="2581"/>
                  </a:cubicBezTo>
                  <a:cubicBezTo>
                    <a:pt x="9123" y="2581"/>
                    <a:pt x="9123" y="2581"/>
                    <a:pt x="9123" y="2581"/>
                  </a:cubicBezTo>
                  <a:cubicBezTo>
                    <a:pt x="9123" y="64"/>
                    <a:pt x="9123" y="64"/>
                    <a:pt x="9123" y="64"/>
                  </a:cubicBezTo>
                  <a:cubicBezTo>
                    <a:pt x="8287" y="64"/>
                    <a:pt x="8287" y="64"/>
                    <a:pt x="8287" y="64"/>
                  </a:cubicBezTo>
                  <a:lnTo>
                    <a:pt x="7704" y="1707"/>
                  </a:lnTo>
                  <a:close/>
                  <a:moveTo>
                    <a:pt x="13062" y="2411"/>
                  </a:moveTo>
                  <a:cubicBezTo>
                    <a:pt x="12415" y="2411"/>
                    <a:pt x="12028" y="1902"/>
                    <a:pt x="12028" y="1323"/>
                  </a:cubicBezTo>
                  <a:cubicBezTo>
                    <a:pt x="12028" y="743"/>
                    <a:pt x="12415" y="235"/>
                    <a:pt x="13062" y="235"/>
                  </a:cubicBezTo>
                  <a:cubicBezTo>
                    <a:pt x="13329" y="235"/>
                    <a:pt x="13610" y="402"/>
                    <a:pt x="13709" y="566"/>
                  </a:cubicBezTo>
                  <a:cubicBezTo>
                    <a:pt x="13933" y="399"/>
                    <a:pt x="13933" y="399"/>
                    <a:pt x="13933" y="399"/>
                  </a:cubicBezTo>
                  <a:cubicBezTo>
                    <a:pt x="13713" y="118"/>
                    <a:pt x="13375" y="0"/>
                    <a:pt x="13062" y="0"/>
                  </a:cubicBezTo>
                  <a:cubicBezTo>
                    <a:pt x="12312" y="0"/>
                    <a:pt x="11751" y="558"/>
                    <a:pt x="11751" y="1323"/>
                  </a:cubicBezTo>
                  <a:cubicBezTo>
                    <a:pt x="11751" y="2087"/>
                    <a:pt x="12312" y="2645"/>
                    <a:pt x="13062" y="2645"/>
                  </a:cubicBezTo>
                  <a:cubicBezTo>
                    <a:pt x="13478" y="2645"/>
                    <a:pt x="13827" y="2443"/>
                    <a:pt x="13994" y="2183"/>
                  </a:cubicBezTo>
                  <a:cubicBezTo>
                    <a:pt x="13784" y="2034"/>
                    <a:pt x="13784" y="2034"/>
                    <a:pt x="13784" y="2034"/>
                  </a:cubicBezTo>
                  <a:cubicBezTo>
                    <a:pt x="13595" y="2325"/>
                    <a:pt x="13325" y="2411"/>
                    <a:pt x="13062" y="2411"/>
                  </a:cubicBezTo>
                  <a:close/>
                  <a:moveTo>
                    <a:pt x="17870" y="1323"/>
                  </a:moveTo>
                  <a:cubicBezTo>
                    <a:pt x="17870" y="2087"/>
                    <a:pt x="17309" y="2645"/>
                    <a:pt x="16559" y="2645"/>
                  </a:cubicBezTo>
                  <a:cubicBezTo>
                    <a:pt x="15809" y="2645"/>
                    <a:pt x="15247" y="2087"/>
                    <a:pt x="15247" y="1323"/>
                  </a:cubicBezTo>
                  <a:cubicBezTo>
                    <a:pt x="15247" y="558"/>
                    <a:pt x="15809" y="0"/>
                    <a:pt x="16559" y="0"/>
                  </a:cubicBezTo>
                  <a:cubicBezTo>
                    <a:pt x="17309" y="0"/>
                    <a:pt x="17870" y="558"/>
                    <a:pt x="17870" y="1323"/>
                  </a:cubicBezTo>
                  <a:close/>
                  <a:moveTo>
                    <a:pt x="17593" y="1323"/>
                  </a:moveTo>
                  <a:cubicBezTo>
                    <a:pt x="17593" y="743"/>
                    <a:pt x="17206" y="235"/>
                    <a:pt x="16559" y="235"/>
                  </a:cubicBezTo>
                  <a:cubicBezTo>
                    <a:pt x="15912" y="235"/>
                    <a:pt x="15524" y="743"/>
                    <a:pt x="15524" y="1323"/>
                  </a:cubicBezTo>
                  <a:cubicBezTo>
                    <a:pt x="15524" y="1902"/>
                    <a:pt x="15912" y="2411"/>
                    <a:pt x="16559" y="2411"/>
                  </a:cubicBezTo>
                  <a:cubicBezTo>
                    <a:pt x="17206" y="2411"/>
                    <a:pt x="17593" y="1902"/>
                    <a:pt x="17593" y="1323"/>
                  </a:cubicBezTo>
                  <a:close/>
                  <a:moveTo>
                    <a:pt x="20919" y="1614"/>
                  </a:moveTo>
                  <a:cubicBezTo>
                    <a:pt x="20919" y="2339"/>
                    <a:pt x="20446" y="2411"/>
                    <a:pt x="20254" y="2411"/>
                  </a:cubicBezTo>
                  <a:cubicBezTo>
                    <a:pt x="20062" y="2411"/>
                    <a:pt x="19589" y="2339"/>
                    <a:pt x="19589" y="1614"/>
                  </a:cubicBezTo>
                  <a:cubicBezTo>
                    <a:pt x="19589" y="64"/>
                    <a:pt x="19589" y="64"/>
                    <a:pt x="19589" y="64"/>
                  </a:cubicBezTo>
                  <a:cubicBezTo>
                    <a:pt x="19333" y="64"/>
                    <a:pt x="19333" y="64"/>
                    <a:pt x="19333" y="64"/>
                  </a:cubicBezTo>
                  <a:cubicBezTo>
                    <a:pt x="19333" y="1643"/>
                    <a:pt x="19333" y="1643"/>
                    <a:pt x="19333" y="1643"/>
                  </a:cubicBezTo>
                  <a:cubicBezTo>
                    <a:pt x="19333" y="2062"/>
                    <a:pt x="19500" y="2645"/>
                    <a:pt x="20254" y="2645"/>
                  </a:cubicBezTo>
                  <a:cubicBezTo>
                    <a:pt x="21007" y="2645"/>
                    <a:pt x="21175" y="2062"/>
                    <a:pt x="21175" y="1643"/>
                  </a:cubicBezTo>
                  <a:cubicBezTo>
                    <a:pt x="21175" y="64"/>
                    <a:pt x="21175" y="64"/>
                    <a:pt x="21175" y="64"/>
                  </a:cubicBezTo>
                  <a:cubicBezTo>
                    <a:pt x="20919" y="64"/>
                    <a:pt x="20919" y="64"/>
                    <a:pt x="20919" y="64"/>
                  </a:cubicBezTo>
                  <a:lnTo>
                    <a:pt x="20919" y="1614"/>
                  </a:lnTo>
                  <a:close/>
                  <a:moveTo>
                    <a:pt x="24777" y="2197"/>
                  </a:moveTo>
                  <a:cubicBezTo>
                    <a:pt x="24770" y="2197"/>
                    <a:pt x="24770" y="2197"/>
                    <a:pt x="24770" y="2197"/>
                  </a:cubicBezTo>
                  <a:cubicBezTo>
                    <a:pt x="23270" y="64"/>
                    <a:pt x="23270" y="64"/>
                    <a:pt x="23270" y="64"/>
                  </a:cubicBezTo>
                  <a:cubicBezTo>
                    <a:pt x="22950" y="64"/>
                    <a:pt x="22950" y="64"/>
                    <a:pt x="22950" y="64"/>
                  </a:cubicBezTo>
                  <a:cubicBezTo>
                    <a:pt x="22950" y="2581"/>
                    <a:pt x="22950" y="2581"/>
                    <a:pt x="22950" y="2581"/>
                  </a:cubicBezTo>
                  <a:cubicBezTo>
                    <a:pt x="23206" y="2581"/>
                    <a:pt x="23206" y="2581"/>
                    <a:pt x="23206" y="2581"/>
                  </a:cubicBezTo>
                  <a:cubicBezTo>
                    <a:pt x="23206" y="427"/>
                    <a:pt x="23206" y="427"/>
                    <a:pt x="23206" y="427"/>
                  </a:cubicBezTo>
                  <a:cubicBezTo>
                    <a:pt x="23213" y="427"/>
                    <a:pt x="23213" y="427"/>
                    <a:pt x="23213" y="427"/>
                  </a:cubicBezTo>
                  <a:cubicBezTo>
                    <a:pt x="24713" y="2581"/>
                    <a:pt x="24713" y="2581"/>
                    <a:pt x="24713" y="2581"/>
                  </a:cubicBezTo>
                  <a:cubicBezTo>
                    <a:pt x="25033" y="2581"/>
                    <a:pt x="25033" y="2581"/>
                    <a:pt x="25033" y="2581"/>
                  </a:cubicBezTo>
                  <a:cubicBezTo>
                    <a:pt x="25033" y="64"/>
                    <a:pt x="25033" y="64"/>
                    <a:pt x="25033" y="64"/>
                  </a:cubicBezTo>
                  <a:cubicBezTo>
                    <a:pt x="24777" y="64"/>
                    <a:pt x="24777" y="64"/>
                    <a:pt x="24777" y="64"/>
                  </a:cubicBezTo>
                  <a:lnTo>
                    <a:pt x="24777" y="2197"/>
                  </a:lnTo>
                  <a:close/>
                  <a:moveTo>
                    <a:pt x="27993" y="2411"/>
                  </a:moveTo>
                  <a:cubicBezTo>
                    <a:pt x="27346" y="2411"/>
                    <a:pt x="26958" y="1902"/>
                    <a:pt x="26958" y="1323"/>
                  </a:cubicBezTo>
                  <a:cubicBezTo>
                    <a:pt x="26958" y="743"/>
                    <a:pt x="27346" y="235"/>
                    <a:pt x="27993" y="235"/>
                  </a:cubicBezTo>
                  <a:cubicBezTo>
                    <a:pt x="28259" y="235"/>
                    <a:pt x="28540" y="402"/>
                    <a:pt x="28640" y="566"/>
                  </a:cubicBezTo>
                  <a:cubicBezTo>
                    <a:pt x="28864" y="399"/>
                    <a:pt x="28864" y="399"/>
                    <a:pt x="28864" y="399"/>
                  </a:cubicBezTo>
                  <a:cubicBezTo>
                    <a:pt x="28643" y="118"/>
                    <a:pt x="28306" y="0"/>
                    <a:pt x="27993" y="0"/>
                  </a:cubicBezTo>
                  <a:cubicBezTo>
                    <a:pt x="27243" y="0"/>
                    <a:pt x="26681" y="558"/>
                    <a:pt x="26681" y="1323"/>
                  </a:cubicBezTo>
                  <a:cubicBezTo>
                    <a:pt x="26681" y="2087"/>
                    <a:pt x="27243" y="2645"/>
                    <a:pt x="27993" y="2645"/>
                  </a:cubicBezTo>
                  <a:cubicBezTo>
                    <a:pt x="28409" y="2645"/>
                    <a:pt x="28757" y="2443"/>
                    <a:pt x="28924" y="2183"/>
                  </a:cubicBezTo>
                  <a:cubicBezTo>
                    <a:pt x="28714" y="2034"/>
                    <a:pt x="28714" y="2034"/>
                    <a:pt x="28714" y="2034"/>
                  </a:cubicBezTo>
                  <a:cubicBezTo>
                    <a:pt x="28526" y="2325"/>
                    <a:pt x="28256" y="2411"/>
                    <a:pt x="27993" y="2411"/>
                  </a:cubicBezTo>
                  <a:close/>
                  <a:moveTo>
                    <a:pt x="30490" y="2581"/>
                  </a:moveTo>
                  <a:cubicBezTo>
                    <a:pt x="30746" y="2581"/>
                    <a:pt x="30746" y="2581"/>
                    <a:pt x="30746" y="2581"/>
                  </a:cubicBezTo>
                  <a:cubicBezTo>
                    <a:pt x="30746" y="64"/>
                    <a:pt x="30746" y="64"/>
                    <a:pt x="30746" y="64"/>
                  </a:cubicBezTo>
                  <a:cubicBezTo>
                    <a:pt x="30490" y="64"/>
                    <a:pt x="30490" y="64"/>
                    <a:pt x="30490" y="64"/>
                  </a:cubicBezTo>
                  <a:lnTo>
                    <a:pt x="30490" y="2581"/>
                  </a:lnTo>
                  <a:close/>
                  <a:moveTo>
                    <a:pt x="32821" y="2347"/>
                  </a:moveTo>
                  <a:cubicBezTo>
                    <a:pt x="32821" y="64"/>
                    <a:pt x="32821" y="64"/>
                    <a:pt x="32821" y="64"/>
                  </a:cubicBezTo>
                  <a:cubicBezTo>
                    <a:pt x="32565" y="64"/>
                    <a:pt x="32565" y="64"/>
                    <a:pt x="32565" y="64"/>
                  </a:cubicBezTo>
                  <a:cubicBezTo>
                    <a:pt x="32565" y="2581"/>
                    <a:pt x="32565" y="2581"/>
                    <a:pt x="32565" y="2581"/>
                  </a:cubicBezTo>
                  <a:cubicBezTo>
                    <a:pt x="33994" y="2581"/>
                    <a:pt x="33994" y="2581"/>
                    <a:pt x="33994" y="2581"/>
                  </a:cubicBezTo>
                  <a:cubicBezTo>
                    <a:pt x="33994" y="2347"/>
                    <a:pt x="33994" y="2347"/>
                    <a:pt x="33994" y="2347"/>
                  </a:cubicBezTo>
                  <a:lnTo>
                    <a:pt x="32821" y="23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1E1F21"/>
                </a:solidFill>
              </a:endParaRPr>
            </a:p>
          </p:txBody>
        </p:sp>
        <p:sp>
          <p:nvSpPr>
            <p:cNvPr id="23" name="Freeform 6"/>
            <p:cNvSpPr>
              <a:spLocks noChangeAspect="1"/>
            </p:cNvSpPr>
            <p:nvPr/>
          </p:nvSpPr>
          <p:spPr bwMode="auto">
            <a:xfrm>
              <a:off x="2498725" y="141288"/>
              <a:ext cx="546100" cy="534988"/>
            </a:xfrm>
            <a:custGeom>
              <a:avLst/>
              <a:gdLst>
                <a:gd name="T0" fmla="*/ 209 w 344"/>
                <a:gd name="T1" fmla="*/ 0 h 337"/>
                <a:gd name="T2" fmla="*/ 0 w 344"/>
                <a:gd name="T3" fmla="*/ 0 h 337"/>
                <a:gd name="T4" fmla="*/ 0 w 344"/>
                <a:gd name="T5" fmla="*/ 337 h 337"/>
                <a:gd name="T6" fmla="*/ 344 w 344"/>
                <a:gd name="T7" fmla="*/ 337 h 337"/>
                <a:gd name="T8" fmla="*/ 344 w 344"/>
                <a:gd name="T9" fmla="*/ 133 h 337"/>
                <a:gd name="T10" fmla="*/ 209 w 344"/>
                <a:gd name="T11" fmla="*/ 133 h 337"/>
                <a:gd name="T12" fmla="*/ 209 w 344"/>
                <a:gd name="T13" fmla="*/ 0 h 337"/>
                <a:gd name="T14" fmla="*/ 209 w 344"/>
                <a:gd name="T15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37">
                  <a:moveTo>
                    <a:pt x="209" y="0"/>
                  </a:moveTo>
                  <a:lnTo>
                    <a:pt x="0" y="0"/>
                  </a:lnTo>
                  <a:lnTo>
                    <a:pt x="0" y="337"/>
                  </a:lnTo>
                  <a:lnTo>
                    <a:pt x="344" y="337"/>
                  </a:lnTo>
                  <a:lnTo>
                    <a:pt x="344" y="133"/>
                  </a:lnTo>
                  <a:lnTo>
                    <a:pt x="209" y="133"/>
                  </a:lnTo>
                  <a:lnTo>
                    <a:pt x="209" y="0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F89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1E1F21"/>
                </a:solidFill>
              </a:endParaRPr>
            </a:p>
          </p:txBody>
        </p:sp>
        <p:sp>
          <p:nvSpPr>
            <p:cNvPr id="24" name="Freeform 7"/>
            <p:cNvSpPr>
              <a:spLocks noChangeAspect="1"/>
            </p:cNvSpPr>
            <p:nvPr/>
          </p:nvSpPr>
          <p:spPr bwMode="auto">
            <a:xfrm>
              <a:off x="2830513" y="0"/>
              <a:ext cx="350838" cy="352425"/>
            </a:xfrm>
            <a:custGeom>
              <a:avLst/>
              <a:gdLst>
                <a:gd name="T0" fmla="*/ 221 w 221"/>
                <a:gd name="T1" fmla="*/ 0 h 222"/>
                <a:gd name="T2" fmla="*/ 0 w 221"/>
                <a:gd name="T3" fmla="*/ 0 h 222"/>
                <a:gd name="T4" fmla="*/ 0 w 221"/>
                <a:gd name="T5" fmla="*/ 89 h 222"/>
                <a:gd name="T6" fmla="*/ 135 w 221"/>
                <a:gd name="T7" fmla="*/ 89 h 222"/>
                <a:gd name="T8" fmla="*/ 135 w 221"/>
                <a:gd name="T9" fmla="*/ 222 h 222"/>
                <a:gd name="T10" fmla="*/ 221 w 221"/>
                <a:gd name="T11" fmla="*/ 222 h 222"/>
                <a:gd name="T12" fmla="*/ 221 w 221"/>
                <a:gd name="T13" fmla="*/ 0 h 222"/>
                <a:gd name="T14" fmla="*/ 221 w 221"/>
                <a:gd name="T15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22">
                  <a:moveTo>
                    <a:pt x="221" y="0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89"/>
                  </a:lnTo>
                  <a:lnTo>
                    <a:pt x="135" y="222"/>
                  </a:lnTo>
                  <a:lnTo>
                    <a:pt x="221" y="222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16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>
                <a:solidFill>
                  <a:srgbClr val="1E1F21"/>
                </a:solidFill>
              </a:endParaRPr>
            </a:p>
          </p:txBody>
        </p:sp>
      </p:grpSp>
      <p:sp>
        <p:nvSpPr>
          <p:cNvPr id="25" name="Rectangle 24"/>
          <p:cNvSpPr/>
          <p:nvPr userDrawn="1"/>
        </p:nvSpPr>
        <p:spPr>
          <a:xfrm>
            <a:off x="0" y="5092700"/>
            <a:ext cx="9144000" cy="617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487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8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685" rtl="0" eaLnBrk="1" latinLnBrk="0" hangingPunct="1">
        <a:lnSpc>
          <a:spcPct val="80000"/>
        </a:lnSpc>
        <a:spcBef>
          <a:spcPct val="0"/>
        </a:spcBef>
        <a:buNone/>
        <a:defRPr sz="28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13" indent="-274313" algn="l" defTabSz="913685" rtl="0" eaLnBrk="1" latinLnBrk="0" hangingPunct="1">
        <a:spcBef>
          <a:spcPct val="20000"/>
        </a:spcBef>
        <a:buClr>
          <a:schemeClr val="accent1"/>
        </a:buClr>
        <a:buSzPct val="80000"/>
        <a:buFont typeface="Wingdings 3" panose="05040102010807070707" pitchFamily="18" charset="2"/>
        <a:buChar char="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61" indent="-22859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44" indent="-176209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114" indent="-15398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125410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628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47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31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156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8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2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6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0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054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89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731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oup 17"/>
          <p:cNvGrpSpPr>
            <a:grpSpLocks noChangeAspect="1"/>
          </p:cNvGrpSpPr>
          <p:nvPr userDrawn="1"/>
        </p:nvGrpSpPr>
        <p:grpSpPr bwMode="auto">
          <a:xfrm>
            <a:off x="8306382" y="4889712"/>
            <a:ext cx="703200" cy="187249"/>
            <a:chOff x="118" y="883"/>
            <a:chExt cx="5528" cy="1472"/>
          </a:xfrm>
        </p:grpSpPr>
        <p:sp>
          <p:nvSpPr>
            <p:cNvPr id="19" name="Freeform 5"/>
            <p:cNvSpPr>
              <a:spLocks noChangeAspect="1" noEditPoints="1"/>
            </p:cNvSpPr>
            <p:nvPr/>
          </p:nvSpPr>
          <p:spPr bwMode="auto">
            <a:xfrm>
              <a:off x="118" y="883"/>
              <a:ext cx="1469" cy="1472"/>
            </a:xfrm>
            <a:custGeom>
              <a:avLst/>
              <a:gdLst>
                <a:gd name="T0" fmla="*/ 408 w 621"/>
                <a:gd name="T1" fmla="*/ 507 h 620"/>
                <a:gd name="T2" fmla="*/ 445 w 621"/>
                <a:gd name="T3" fmla="*/ 538 h 620"/>
                <a:gd name="T4" fmla="*/ 439 w 621"/>
                <a:gd name="T5" fmla="*/ 593 h 620"/>
                <a:gd name="T6" fmla="*/ 386 w 621"/>
                <a:gd name="T7" fmla="*/ 564 h 620"/>
                <a:gd name="T8" fmla="*/ 575 w 621"/>
                <a:gd name="T9" fmla="*/ 331 h 620"/>
                <a:gd name="T10" fmla="*/ 621 w 621"/>
                <a:gd name="T11" fmla="*/ 321 h 620"/>
                <a:gd name="T12" fmla="*/ 621 w 621"/>
                <a:gd name="T13" fmla="*/ 299 h 620"/>
                <a:gd name="T14" fmla="*/ 575 w 621"/>
                <a:gd name="T15" fmla="*/ 289 h 620"/>
                <a:gd name="T16" fmla="*/ 524 w 621"/>
                <a:gd name="T17" fmla="*/ 257 h 620"/>
                <a:gd name="T18" fmla="*/ 556 w 621"/>
                <a:gd name="T19" fmla="*/ 208 h 620"/>
                <a:gd name="T20" fmla="*/ 583 w 621"/>
                <a:gd name="T21" fmla="*/ 161 h 620"/>
                <a:gd name="T22" fmla="*/ 550 w 621"/>
                <a:gd name="T23" fmla="*/ 198 h 620"/>
                <a:gd name="T24" fmla="*/ 487 w 621"/>
                <a:gd name="T25" fmla="*/ 177 h 620"/>
                <a:gd name="T26" fmla="*/ 528 w 621"/>
                <a:gd name="T27" fmla="*/ 159 h 620"/>
                <a:gd name="T28" fmla="*/ 537 w 621"/>
                <a:gd name="T29" fmla="*/ 98 h 620"/>
                <a:gd name="T30" fmla="*/ 510 w 621"/>
                <a:gd name="T31" fmla="*/ 137 h 620"/>
                <a:gd name="T32" fmla="*/ 454 w 621"/>
                <a:gd name="T33" fmla="*/ 143 h 620"/>
                <a:gd name="T34" fmla="*/ 491 w 621"/>
                <a:gd name="T35" fmla="*/ 116 h 620"/>
                <a:gd name="T36" fmla="*/ 478 w 621"/>
                <a:gd name="T37" fmla="*/ 48 h 620"/>
                <a:gd name="T38" fmla="*/ 416 w 621"/>
                <a:gd name="T39" fmla="*/ 66 h 620"/>
                <a:gd name="T40" fmla="*/ 387 w 621"/>
                <a:gd name="T41" fmla="*/ 104 h 620"/>
                <a:gd name="T42" fmla="*/ 384 w 621"/>
                <a:gd name="T43" fmla="*/ 55 h 620"/>
                <a:gd name="T44" fmla="*/ 365 w 621"/>
                <a:gd name="T45" fmla="*/ 4 h 620"/>
                <a:gd name="T46" fmla="*/ 344 w 621"/>
                <a:gd name="T47" fmla="*/ 47 h 620"/>
                <a:gd name="T48" fmla="*/ 325 w 621"/>
                <a:gd name="T49" fmla="*/ 91 h 620"/>
                <a:gd name="T50" fmla="*/ 319 w 621"/>
                <a:gd name="T51" fmla="*/ 45 h 620"/>
                <a:gd name="T52" fmla="*/ 311 w 621"/>
                <a:gd name="T53" fmla="*/ 0 h 620"/>
                <a:gd name="T54" fmla="*/ 311 w 621"/>
                <a:gd name="T55" fmla="*/ 620 h 620"/>
                <a:gd name="T56" fmla="*/ 317 w 621"/>
                <a:gd name="T57" fmla="*/ 575 h 620"/>
                <a:gd name="T58" fmla="*/ 338 w 621"/>
                <a:gd name="T59" fmla="*/ 619 h 620"/>
                <a:gd name="T60" fmla="*/ 353 w 621"/>
                <a:gd name="T61" fmla="*/ 571 h 620"/>
                <a:gd name="T62" fmla="*/ 331 w 621"/>
                <a:gd name="T63" fmla="*/ 529 h 620"/>
                <a:gd name="T64" fmla="*/ 311 w 621"/>
                <a:gd name="T65" fmla="*/ 484 h 620"/>
                <a:gd name="T66" fmla="*/ 311 w 621"/>
                <a:gd name="T67" fmla="*/ 136 h 620"/>
                <a:gd name="T68" fmla="*/ 409 w 621"/>
                <a:gd name="T69" fmla="*/ 113 h 620"/>
                <a:gd name="T70" fmla="*/ 403 w 621"/>
                <a:gd name="T71" fmla="*/ 162 h 620"/>
                <a:gd name="T72" fmla="*/ 512 w 621"/>
                <a:gd name="T73" fmla="*/ 222 h 620"/>
                <a:gd name="T74" fmla="*/ 477 w 621"/>
                <a:gd name="T75" fmla="*/ 258 h 620"/>
                <a:gd name="T76" fmla="*/ 459 w 621"/>
                <a:gd name="T77" fmla="*/ 402 h 620"/>
                <a:gd name="T78" fmla="*/ 479 w 621"/>
                <a:gd name="T79" fmla="*/ 451 h 620"/>
                <a:gd name="T80" fmla="*/ 504 w 621"/>
                <a:gd name="T81" fmla="*/ 491 h 620"/>
                <a:gd name="T82" fmla="*/ 572 w 621"/>
                <a:gd name="T83" fmla="*/ 478 h 620"/>
                <a:gd name="T84" fmla="*/ 553 w 621"/>
                <a:gd name="T85" fmla="*/ 417 h 620"/>
                <a:gd name="T86" fmla="*/ 518 w 621"/>
                <a:gd name="T87" fmla="*/ 384 h 620"/>
                <a:gd name="T88" fmla="*/ 565 w 621"/>
                <a:gd name="T89" fmla="*/ 385 h 620"/>
                <a:gd name="T90" fmla="*/ 616 w 621"/>
                <a:gd name="T91" fmla="*/ 365 h 620"/>
                <a:gd name="T92" fmla="*/ 574 w 621"/>
                <a:gd name="T93" fmla="*/ 346 h 620"/>
                <a:gd name="T94" fmla="*/ 530 w 621"/>
                <a:gd name="T95" fmla="*/ 328 h 620"/>
                <a:gd name="T96" fmla="*/ 483 w 621"/>
                <a:gd name="T97" fmla="*/ 510 h 620"/>
                <a:gd name="T98" fmla="*/ 430 w 621"/>
                <a:gd name="T99" fmla="*/ 494 h 620"/>
                <a:gd name="T100" fmla="*/ 387 w 621"/>
                <a:gd name="T101" fmla="*/ 467 h 620"/>
                <a:gd name="T102" fmla="*/ 425 w 621"/>
                <a:gd name="T103" fmla="*/ 498 h 620"/>
                <a:gd name="T104" fmla="*/ 477 w 621"/>
                <a:gd name="T105" fmla="*/ 517 h 620"/>
                <a:gd name="T106" fmla="*/ 522 w 621"/>
                <a:gd name="T107" fmla="*/ 538 h 620"/>
                <a:gd name="T108" fmla="*/ 483 w 621"/>
                <a:gd name="T109" fmla="*/ 510 h 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621" h="620">
                  <a:moveTo>
                    <a:pt x="373" y="521"/>
                  </a:moveTo>
                  <a:cubicBezTo>
                    <a:pt x="385" y="517"/>
                    <a:pt x="397" y="512"/>
                    <a:pt x="408" y="507"/>
                  </a:cubicBezTo>
                  <a:cubicBezTo>
                    <a:pt x="431" y="546"/>
                    <a:pt x="431" y="546"/>
                    <a:pt x="431" y="546"/>
                  </a:cubicBezTo>
                  <a:cubicBezTo>
                    <a:pt x="432" y="546"/>
                    <a:pt x="444" y="539"/>
                    <a:pt x="445" y="538"/>
                  </a:cubicBezTo>
                  <a:cubicBezTo>
                    <a:pt x="468" y="577"/>
                    <a:pt x="468" y="577"/>
                    <a:pt x="468" y="577"/>
                  </a:cubicBezTo>
                  <a:cubicBezTo>
                    <a:pt x="459" y="583"/>
                    <a:pt x="449" y="588"/>
                    <a:pt x="439" y="593"/>
                  </a:cubicBezTo>
                  <a:cubicBezTo>
                    <a:pt x="420" y="552"/>
                    <a:pt x="420" y="552"/>
                    <a:pt x="420" y="552"/>
                  </a:cubicBezTo>
                  <a:cubicBezTo>
                    <a:pt x="409" y="557"/>
                    <a:pt x="398" y="561"/>
                    <a:pt x="386" y="564"/>
                  </a:cubicBezTo>
                  <a:lnTo>
                    <a:pt x="373" y="521"/>
                  </a:lnTo>
                  <a:close/>
                  <a:moveTo>
                    <a:pt x="575" y="331"/>
                  </a:moveTo>
                  <a:cubicBezTo>
                    <a:pt x="575" y="328"/>
                    <a:pt x="575" y="324"/>
                    <a:pt x="576" y="320"/>
                  </a:cubicBezTo>
                  <a:cubicBezTo>
                    <a:pt x="621" y="321"/>
                    <a:pt x="621" y="321"/>
                    <a:pt x="621" y="321"/>
                  </a:cubicBezTo>
                  <a:cubicBezTo>
                    <a:pt x="621" y="317"/>
                    <a:pt x="621" y="314"/>
                    <a:pt x="621" y="310"/>
                  </a:cubicBezTo>
                  <a:cubicBezTo>
                    <a:pt x="621" y="306"/>
                    <a:pt x="621" y="303"/>
                    <a:pt x="621" y="299"/>
                  </a:cubicBezTo>
                  <a:cubicBezTo>
                    <a:pt x="576" y="301"/>
                    <a:pt x="576" y="301"/>
                    <a:pt x="576" y="301"/>
                  </a:cubicBezTo>
                  <a:cubicBezTo>
                    <a:pt x="575" y="297"/>
                    <a:pt x="575" y="293"/>
                    <a:pt x="575" y="289"/>
                  </a:cubicBezTo>
                  <a:cubicBezTo>
                    <a:pt x="530" y="292"/>
                    <a:pt x="530" y="292"/>
                    <a:pt x="530" y="292"/>
                  </a:cubicBezTo>
                  <a:cubicBezTo>
                    <a:pt x="529" y="280"/>
                    <a:pt x="527" y="268"/>
                    <a:pt x="524" y="257"/>
                  </a:cubicBezTo>
                  <a:cubicBezTo>
                    <a:pt x="568" y="246"/>
                    <a:pt x="568" y="246"/>
                    <a:pt x="568" y="246"/>
                  </a:cubicBezTo>
                  <a:cubicBezTo>
                    <a:pt x="565" y="233"/>
                    <a:pt x="561" y="220"/>
                    <a:pt x="556" y="208"/>
                  </a:cubicBezTo>
                  <a:cubicBezTo>
                    <a:pt x="597" y="191"/>
                    <a:pt x="597" y="191"/>
                    <a:pt x="597" y="191"/>
                  </a:cubicBezTo>
                  <a:cubicBezTo>
                    <a:pt x="593" y="181"/>
                    <a:pt x="588" y="171"/>
                    <a:pt x="583" y="161"/>
                  </a:cubicBezTo>
                  <a:cubicBezTo>
                    <a:pt x="543" y="183"/>
                    <a:pt x="543" y="183"/>
                    <a:pt x="543" y="183"/>
                  </a:cubicBezTo>
                  <a:cubicBezTo>
                    <a:pt x="545" y="188"/>
                    <a:pt x="548" y="193"/>
                    <a:pt x="550" y="198"/>
                  </a:cubicBezTo>
                  <a:cubicBezTo>
                    <a:pt x="510" y="217"/>
                    <a:pt x="510" y="217"/>
                    <a:pt x="510" y="217"/>
                  </a:cubicBezTo>
                  <a:cubicBezTo>
                    <a:pt x="503" y="202"/>
                    <a:pt x="497" y="190"/>
                    <a:pt x="487" y="177"/>
                  </a:cubicBezTo>
                  <a:cubicBezTo>
                    <a:pt x="522" y="150"/>
                    <a:pt x="522" y="150"/>
                    <a:pt x="522" y="150"/>
                  </a:cubicBezTo>
                  <a:cubicBezTo>
                    <a:pt x="525" y="153"/>
                    <a:pt x="525" y="155"/>
                    <a:pt x="528" y="159"/>
                  </a:cubicBezTo>
                  <a:cubicBezTo>
                    <a:pt x="565" y="133"/>
                    <a:pt x="565" y="133"/>
                    <a:pt x="565" y="133"/>
                  </a:cubicBezTo>
                  <a:cubicBezTo>
                    <a:pt x="557" y="120"/>
                    <a:pt x="547" y="109"/>
                    <a:pt x="537" y="98"/>
                  </a:cubicBezTo>
                  <a:cubicBezTo>
                    <a:pt x="504" y="129"/>
                    <a:pt x="504" y="129"/>
                    <a:pt x="504" y="129"/>
                  </a:cubicBezTo>
                  <a:cubicBezTo>
                    <a:pt x="507" y="133"/>
                    <a:pt x="507" y="133"/>
                    <a:pt x="510" y="137"/>
                  </a:cubicBezTo>
                  <a:cubicBezTo>
                    <a:pt x="476" y="166"/>
                    <a:pt x="476" y="166"/>
                    <a:pt x="476" y="166"/>
                  </a:cubicBezTo>
                  <a:cubicBezTo>
                    <a:pt x="468" y="156"/>
                    <a:pt x="463" y="151"/>
                    <a:pt x="454" y="143"/>
                  </a:cubicBezTo>
                  <a:cubicBezTo>
                    <a:pt x="483" y="109"/>
                    <a:pt x="483" y="109"/>
                    <a:pt x="483" y="109"/>
                  </a:cubicBezTo>
                  <a:cubicBezTo>
                    <a:pt x="486" y="112"/>
                    <a:pt x="488" y="114"/>
                    <a:pt x="491" y="116"/>
                  </a:cubicBezTo>
                  <a:cubicBezTo>
                    <a:pt x="522" y="82"/>
                    <a:pt x="522" y="82"/>
                    <a:pt x="522" y="82"/>
                  </a:cubicBezTo>
                  <a:cubicBezTo>
                    <a:pt x="508" y="70"/>
                    <a:pt x="493" y="58"/>
                    <a:pt x="478" y="48"/>
                  </a:cubicBezTo>
                  <a:cubicBezTo>
                    <a:pt x="453" y="87"/>
                    <a:pt x="453" y="87"/>
                    <a:pt x="453" y="87"/>
                  </a:cubicBezTo>
                  <a:cubicBezTo>
                    <a:pt x="440" y="78"/>
                    <a:pt x="431" y="72"/>
                    <a:pt x="416" y="66"/>
                  </a:cubicBezTo>
                  <a:cubicBezTo>
                    <a:pt x="399" y="108"/>
                    <a:pt x="399" y="108"/>
                    <a:pt x="399" y="108"/>
                  </a:cubicBezTo>
                  <a:cubicBezTo>
                    <a:pt x="397" y="107"/>
                    <a:pt x="389" y="104"/>
                    <a:pt x="387" y="104"/>
                  </a:cubicBezTo>
                  <a:cubicBezTo>
                    <a:pt x="403" y="61"/>
                    <a:pt x="403" y="61"/>
                    <a:pt x="403" y="61"/>
                  </a:cubicBezTo>
                  <a:cubicBezTo>
                    <a:pt x="397" y="59"/>
                    <a:pt x="391" y="57"/>
                    <a:pt x="384" y="55"/>
                  </a:cubicBezTo>
                  <a:cubicBezTo>
                    <a:pt x="397" y="12"/>
                    <a:pt x="397" y="12"/>
                    <a:pt x="397" y="12"/>
                  </a:cubicBezTo>
                  <a:cubicBezTo>
                    <a:pt x="386" y="9"/>
                    <a:pt x="376" y="6"/>
                    <a:pt x="365" y="4"/>
                  </a:cubicBezTo>
                  <a:cubicBezTo>
                    <a:pt x="357" y="49"/>
                    <a:pt x="357" y="49"/>
                    <a:pt x="357" y="49"/>
                  </a:cubicBezTo>
                  <a:cubicBezTo>
                    <a:pt x="353" y="48"/>
                    <a:pt x="348" y="47"/>
                    <a:pt x="344" y="47"/>
                  </a:cubicBezTo>
                  <a:cubicBezTo>
                    <a:pt x="338" y="92"/>
                    <a:pt x="338" y="92"/>
                    <a:pt x="338" y="92"/>
                  </a:cubicBezTo>
                  <a:cubicBezTo>
                    <a:pt x="336" y="91"/>
                    <a:pt x="327" y="91"/>
                    <a:pt x="325" y="91"/>
                  </a:cubicBezTo>
                  <a:cubicBezTo>
                    <a:pt x="329" y="46"/>
                    <a:pt x="329" y="46"/>
                    <a:pt x="329" y="46"/>
                  </a:cubicBezTo>
                  <a:cubicBezTo>
                    <a:pt x="324" y="45"/>
                    <a:pt x="325" y="45"/>
                    <a:pt x="319" y="45"/>
                  </a:cubicBezTo>
                  <a:cubicBezTo>
                    <a:pt x="320" y="0"/>
                    <a:pt x="320" y="0"/>
                    <a:pt x="320" y="0"/>
                  </a:cubicBezTo>
                  <a:cubicBezTo>
                    <a:pt x="317" y="0"/>
                    <a:pt x="314" y="0"/>
                    <a:pt x="311" y="0"/>
                  </a:cubicBezTo>
                  <a:cubicBezTo>
                    <a:pt x="139" y="0"/>
                    <a:pt x="0" y="139"/>
                    <a:pt x="0" y="310"/>
                  </a:cubicBezTo>
                  <a:cubicBezTo>
                    <a:pt x="0" y="481"/>
                    <a:pt x="139" y="620"/>
                    <a:pt x="311" y="620"/>
                  </a:cubicBezTo>
                  <a:cubicBezTo>
                    <a:pt x="314" y="620"/>
                    <a:pt x="315" y="620"/>
                    <a:pt x="318" y="620"/>
                  </a:cubicBezTo>
                  <a:cubicBezTo>
                    <a:pt x="317" y="575"/>
                    <a:pt x="317" y="575"/>
                    <a:pt x="317" y="575"/>
                  </a:cubicBezTo>
                  <a:cubicBezTo>
                    <a:pt x="322" y="575"/>
                    <a:pt x="328" y="575"/>
                    <a:pt x="333" y="574"/>
                  </a:cubicBezTo>
                  <a:cubicBezTo>
                    <a:pt x="338" y="619"/>
                    <a:pt x="338" y="619"/>
                    <a:pt x="338" y="619"/>
                  </a:cubicBezTo>
                  <a:cubicBezTo>
                    <a:pt x="340" y="619"/>
                    <a:pt x="361" y="616"/>
                    <a:pt x="363" y="616"/>
                  </a:cubicBezTo>
                  <a:cubicBezTo>
                    <a:pt x="353" y="571"/>
                    <a:pt x="353" y="571"/>
                    <a:pt x="353" y="571"/>
                  </a:cubicBezTo>
                  <a:cubicBezTo>
                    <a:pt x="352" y="571"/>
                    <a:pt x="341" y="573"/>
                    <a:pt x="335" y="574"/>
                  </a:cubicBezTo>
                  <a:cubicBezTo>
                    <a:pt x="331" y="529"/>
                    <a:pt x="331" y="529"/>
                    <a:pt x="331" y="529"/>
                  </a:cubicBezTo>
                  <a:cubicBezTo>
                    <a:pt x="324" y="529"/>
                    <a:pt x="317" y="530"/>
                    <a:pt x="311" y="530"/>
                  </a:cubicBezTo>
                  <a:cubicBezTo>
                    <a:pt x="311" y="484"/>
                    <a:pt x="311" y="484"/>
                    <a:pt x="311" y="484"/>
                  </a:cubicBezTo>
                  <a:cubicBezTo>
                    <a:pt x="214" y="484"/>
                    <a:pt x="136" y="406"/>
                    <a:pt x="136" y="310"/>
                  </a:cubicBezTo>
                  <a:cubicBezTo>
                    <a:pt x="136" y="214"/>
                    <a:pt x="214" y="136"/>
                    <a:pt x="311" y="136"/>
                  </a:cubicBezTo>
                  <a:cubicBezTo>
                    <a:pt x="338" y="136"/>
                    <a:pt x="364" y="142"/>
                    <a:pt x="388" y="154"/>
                  </a:cubicBezTo>
                  <a:cubicBezTo>
                    <a:pt x="409" y="113"/>
                    <a:pt x="409" y="113"/>
                    <a:pt x="409" y="113"/>
                  </a:cubicBezTo>
                  <a:cubicBezTo>
                    <a:pt x="412" y="115"/>
                    <a:pt x="421" y="121"/>
                    <a:pt x="424" y="122"/>
                  </a:cubicBezTo>
                  <a:cubicBezTo>
                    <a:pt x="403" y="162"/>
                    <a:pt x="403" y="162"/>
                    <a:pt x="403" y="162"/>
                  </a:cubicBezTo>
                  <a:cubicBezTo>
                    <a:pt x="433" y="181"/>
                    <a:pt x="456" y="208"/>
                    <a:pt x="470" y="240"/>
                  </a:cubicBezTo>
                  <a:cubicBezTo>
                    <a:pt x="512" y="222"/>
                    <a:pt x="512" y="222"/>
                    <a:pt x="512" y="222"/>
                  </a:cubicBezTo>
                  <a:cubicBezTo>
                    <a:pt x="513" y="225"/>
                    <a:pt x="518" y="237"/>
                    <a:pt x="519" y="241"/>
                  </a:cubicBezTo>
                  <a:cubicBezTo>
                    <a:pt x="477" y="258"/>
                    <a:pt x="477" y="258"/>
                    <a:pt x="477" y="258"/>
                  </a:cubicBezTo>
                  <a:cubicBezTo>
                    <a:pt x="482" y="274"/>
                    <a:pt x="485" y="292"/>
                    <a:pt x="485" y="310"/>
                  </a:cubicBezTo>
                  <a:cubicBezTo>
                    <a:pt x="485" y="343"/>
                    <a:pt x="476" y="375"/>
                    <a:pt x="459" y="402"/>
                  </a:cubicBezTo>
                  <a:cubicBezTo>
                    <a:pt x="497" y="426"/>
                    <a:pt x="497" y="426"/>
                    <a:pt x="497" y="426"/>
                  </a:cubicBezTo>
                  <a:cubicBezTo>
                    <a:pt x="491" y="435"/>
                    <a:pt x="486" y="443"/>
                    <a:pt x="479" y="451"/>
                  </a:cubicBezTo>
                  <a:cubicBezTo>
                    <a:pt x="513" y="480"/>
                    <a:pt x="513" y="480"/>
                    <a:pt x="513" y="480"/>
                  </a:cubicBezTo>
                  <a:cubicBezTo>
                    <a:pt x="510" y="484"/>
                    <a:pt x="507" y="487"/>
                    <a:pt x="504" y="491"/>
                  </a:cubicBezTo>
                  <a:cubicBezTo>
                    <a:pt x="537" y="522"/>
                    <a:pt x="537" y="522"/>
                    <a:pt x="537" y="522"/>
                  </a:cubicBezTo>
                  <a:cubicBezTo>
                    <a:pt x="550" y="508"/>
                    <a:pt x="562" y="494"/>
                    <a:pt x="572" y="478"/>
                  </a:cubicBezTo>
                  <a:cubicBezTo>
                    <a:pt x="533" y="454"/>
                    <a:pt x="533" y="454"/>
                    <a:pt x="533" y="454"/>
                  </a:cubicBezTo>
                  <a:cubicBezTo>
                    <a:pt x="541" y="442"/>
                    <a:pt x="548" y="430"/>
                    <a:pt x="553" y="417"/>
                  </a:cubicBezTo>
                  <a:cubicBezTo>
                    <a:pt x="512" y="397"/>
                    <a:pt x="512" y="397"/>
                    <a:pt x="512" y="397"/>
                  </a:cubicBezTo>
                  <a:cubicBezTo>
                    <a:pt x="513" y="395"/>
                    <a:pt x="517" y="386"/>
                    <a:pt x="518" y="384"/>
                  </a:cubicBezTo>
                  <a:cubicBezTo>
                    <a:pt x="561" y="399"/>
                    <a:pt x="561" y="399"/>
                    <a:pt x="561" y="399"/>
                  </a:cubicBezTo>
                  <a:cubicBezTo>
                    <a:pt x="562" y="394"/>
                    <a:pt x="564" y="390"/>
                    <a:pt x="565" y="385"/>
                  </a:cubicBezTo>
                  <a:cubicBezTo>
                    <a:pt x="608" y="398"/>
                    <a:pt x="608" y="398"/>
                    <a:pt x="608" y="398"/>
                  </a:cubicBezTo>
                  <a:cubicBezTo>
                    <a:pt x="612" y="387"/>
                    <a:pt x="614" y="376"/>
                    <a:pt x="616" y="365"/>
                  </a:cubicBezTo>
                  <a:cubicBezTo>
                    <a:pt x="572" y="357"/>
                    <a:pt x="572" y="357"/>
                    <a:pt x="572" y="357"/>
                  </a:cubicBezTo>
                  <a:cubicBezTo>
                    <a:pt x="573" y="352"/>
                    <a:pt x="574" y="351"/>
                    <a:pt x="574" y="346"/>
                  </a:cubicBezTo>
                  <a:cubicBezTo>
                    <a:pt x="529" y="341"/>
                    <a:pt x="529" y="341"/>
                    <a:pt x="529" y="341"/>
                  </a:cubicBezTo>
                  <a:cubicBezTo>
                    <a:pt x="529" y="338"/>
                    <a:pt x="530" y="330"/>
                    <a:pt x="530" y="328"/>
                  </a:cubicBezTo>
                  <a:lnTo>
                    <a:pt x="575" y="331"/>
                  </a:lnTo>
                  <a:close/>
                  <a:moveTo>
                    <a:pt x="483" y="510"/>
                  </a:moveTo>
                  <a:cubicBezTo>
                    <a:pt x="454" y="476"/>
                    <a:pt x="454" y="476"/>
                    <a:pt x="454" y="476"/>
                  </a:cubicBezTo>
                  <a:cubicBezTo>
                    <a:pt x="445" y="484"/>
                    <a:pt x="440" y="488"/>
                    <a:pt x="430" y="494"/>
                  </a:cubicBezTo>
                  <a:cubicBezTo>
                    <a:pt x="406" y="456"/>
                    <a:pt x="406" y="456"/>
                    <a:pt x="406" y="456"/>
                  </a:cubicBezTo>
                  <a:cubicBezTo>
                    <a:pt x="403" y="457"/>
                    <a:pt x="387" y="467"/>
                    <a:pt x="387" y="467"/>
                  </a:cubicBezTo>
                  <a:cubicBezTo>
                    <a:pt x="408" y="507"/>
                    <a:pt x="408" y="507"/>
                    <a:pt x="408" y="507"/>
                  </a:cubicBezTo>
                  <a:cubicBezTo>
                    <a:pt x="408" y="507"/>
                    <a:pt x="425" y="498"/>
                    <a:pt x="425" y="498"/>
                  </a:cubicBezTo>
                  <a:cubicBezTo>
                    <a:pt x="449" y="536"/>
                    <a:pt x="449" y="536"/>
                    <a:pt x="449" y="536"/>
                  </a:cubicBezTo>
                  <a:cubicBezTo>
                    <a:pt x="459" y="531"/>
                    <a:pt x="468" y="524"/>
                    <a:pt x="477" y="517"/>
                  </a:cubicBezTo>
                  <a:cubicBezTo>
                    <a:pt x="505" y="552"/>
                    <a:pt x="505" y="552"/>
                    <a:pt x="505" y="552"/>
                  </a:cubicBezTo>
                  <a:cubicBezTo>
                    <a:pt x="511" y="547"/>
                    <a:pt x="516" y="543"/>
                    <a:pt x="522" y="538"/>
                  </a:cubicBezTo>
                  <a:cubicBezTo>
                    <a:pt x="491" y="504"/>
                    <a:pt x="491" y="504"/>
                    <a:pt x="491" y="504"/>
                  </a:cubicBezTo>
                  <a:cubicBezTo>
                    <a:pt x="488" y="506"/>
                    <a:pt x="486" y="508"/>
                    <a:pt x="483" y="510"/>
                  </a:cubicBezTo>
                  <a:close/>
                </a:path>
              </a:pathLst>
            </a:custGeom>
            <a:solidFill>
              <a:srgbClr val="FF67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  <p:sp>
          <p:nvSpPr>
            <p:cNvPr id="20" name="Freeform 6"/>
            <p:cNvSpPr>
              <a:spLocks noChangeAspect="1" noEditPoints="1"/>
            </p:cNvSpPr>
            <p:nvPr/>
          </p:nvSpPr>
          <p:spPr bwMode="auto">
            <a:xfrm>
              <a:off x="1862" y="1358"/>
              <a:ext cx="3784" cy="491"/>
            </a:xfrm>
            <a:custGeom>
              <a:avLst/>
              <a:gdLst>
                <a:gd name="T0" fmla="*/ 0 w 1600"/>
                <a:gd name="T1" fmla="*/ 202 h 207"/>
                <a:gd name="T2" fmla="*/ 81 w 1600"/>
                <a:gd name="T3" fmla="*/ 175 h 207"/>
                <a:gd name="T4" fmla="*/ 235 w 1600"/>
                <a:gd name="T5" fmla="*/ 202 h 207"/>
                <a:gd name="T6" fmla="*/ 188 w 1600"/>
                <a:gd name="T7" fmla="*/ 18 h 207"/>
                <a:gd name="T8" fmla="*/ 108 w 1600"/>
                <a:gd name="T9" fmla="*/ 131 h 207"/>
                <a:gd name="T10" fmla="*/ 190 w 1600"/>
                <a:gd name="T11" fmla="*/ 131 h 207"/>
                <a:gd name="T12" fmla="*/ 486 w 1600"/>
                <a:gd name="T13" fmla="*/ 19 h 207"/>
                <a:gd name="T14" fmla="*/ 325 w 1600"/>
                <a:gd name="T15" fmla="*/ 202 h 207"/>
                <a:gd name="T16" fmla="*/ 386 w 1600"/>
                <a:gd name="T17" fmla="*/ 158 h 207"/>
                <a:gd name="T18" fmla="*/ 571 w 1600"/>
                <a:gd name="T19" fmla="*/ 89 h 207"/>
                <a:gd name="T20" fmla="*/ 481 w 1600"/>
                <a:gd name="T21" fmla="*/ 116 h 207"/>
                <a:gd name="T22" fmla="*/ 386 w 1600"/>
                <a:gd name="T23" fmla="*/ 65 h 207"/>
                <a:gd name="T24" fmla="*/ 509 w 1600"/>
                <a:gd name="T25" fmla="*/ 90 h 207"/>
                <a:gd name="T26" fmla="*/ 763 w 1600"/>
                <a:gd name="T27" fmla="*/ 19 h 207"/>
                <a:gd name="T28" fmla="*/ 602 w 1600"/>
                <a:gd name="T29" fmla="*/ 202 h 207"/>
                <a:gd name="T30" fmla="*/ 663 w 1600"/>
                <a:gd name="T31" fmla="*/ 158 h 207"/>
                <a:gd name="T32" fmla="*/ 848 w 1600"/>
                <a:gd name="T33" fmla="*/ 89 h 207"/>
                <a:gd name="T34" fmla="*/ 758 w 1600"/>
                <a:gd name="T35" fmla="*/ 116 h 207"/>
                <a:gd name="T36" fmla="*/ 663 w 1600"/>
                <a:gd name="T37" fmla="*/ 65 h 207"/>
                <a:gd name="T38" fmla="*/ 786 w 1600"/>
                <a:gd name="T39" fmla="*/ 90 h 207"/>
                <a:gd name="T40" fmla="*/ 866 w 1600"/>
                <a:gd name="T41" fmla="*/ 19 h 207"/>
                <a:gd name="T42" fmla="*/ 1134 w 1600"/>
                <a:gd name="T43" fmla="*/ 65 h 207"/>
                <a:gd name="T44" fmla="*/ 1030 w 1600"/>
                <a:gd name="T45" fmla="*/ 202 h 207"/>
                <a:gd name="T46" fmla="*/ 969 w 1600"/>
                <a:gd name="T47" fmla="*/ 65 h 207"/>
                <a:gd name="T48" fmla="*/ 866 w 1600"/>
                <a:gd name="T49" fmla="*/ 19 h 207"/>
                <a:gd name="T50" fmla="*/ 1230 w 1600"/>
                <a:gd name="T51" fmla="*/ 19 h 207"/>
                <a:gd name="T52" fmla="*/ 1169 w 1600"/>
                <a:gd name="T53" fmla="*/ 202 h 207"/>
                <a:gd name="T54" fmla="*/ 1416 w 1600"/>
                <a:gd name="T55" fmla="*/ 14 h 207"/>
                <a:gd name="T56" fmla="*/ 1416 w 1600"/>
                <a:gd name="T57" fmla="*/ 207 h 207"/>
                <a:gd name="T58" fmla="*/ 1416 w 1600"/>
                <a:gd name="T59" fmla="*/ 14 h 207"/>
                <a:gd name="T60" fmla="*/ 1332 w 1600"/>
                <a:gd name="T61" fmla="*/ 110 h 207"/>
                <a:gd name="T62" fmla="*/ 1501 w 1600"/>
                <a:gd name="T63" fmla="*/ 111 h 207"/>
                <a:gd name="T64" fmla="*/ 1585 w 1600"/>
                <a:gd name="T65" fmla="*/ 19 h 207"/>
                <a:gd name="T66" fmla="*/ 1589 w 1600"/>
                <a:gd name="T67" fmla="*/ 15 h 207"/>
                <a:gd name="T68" fmla="*/ 1581 w 1600"/>
                <a:gd name="T69" fmla="*/ 9 h 207"/>
                <a:gd name="T70" fmla="*/ 1574 w 1600"/>
                <a:gd name="T71" fmla="*/ 28 h 207"/>
                <a:gd name="T72" fmla="*/ 1578 w 1600"/>
                <a:gd name="T73" fmla="*/ 21 h 207"/>
                <a:gd name="T74" fmla="*/ 1584 w 1600"/>
                <a:gd name="T75" fmla="*/ 23 h 207"/>
                <a:gd name="T76" fmla="*/ 1590 w 1600"/>
                <a:gd name="T77" fmla="*/ 28 h 207"/>
                <a:gd name="T78" fmla="*/ 1585 w 1600"/>
                <a:gd name="T79" fmla="*/ 19 h 207"/>
                <a:gd name="T80" fmla="*/ 1579 w 1600"/>
                <a:gd name="T81" fmla="*/ 18 h 207"/>
                <a:gd name="T82" fmla="*/ 1581 w 1600"/>
                <a:gd name="T83" fmla="*/ 12 h 207"/>
                <a:gd name="T84" fmla="*/ 1580 w 1600"/>
                <a:gd name="T85" fmla="*/ 18 h 207"/>
                <a:gd name="T86" fmla="*/ 1563 w 1600"/>
                <a:gd name="T87" fmla="*/ 18 h 207"/>
                <a:gd name="T88" fmla="*/ 1600 w 1600"/>
                <a:gd name="T89" fmla="*/ 18 h 207"/>
                <a:gd name="T90" fmla="*/ 1581 w 1600"/>
                <a:gd name="T91" fmla="*/ 33 h 207"/>
                <a:gd name="T92" fmla="*/ 1581 w 1600"/>
                <a:gd name="T93" fmla="*/ 4 h 207"/>
                <a:gd name="T94" fmla="*/ 1581 w 1600"/>
                <a:gd name="T95" fmla="*/ 33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600" h="207">
                  <a:moveTo>
                    <a:pt x="115" y="18"/>
                  </a:moveTo>
                  <a:cubicBezTo>
                    <a:pt x="0" y="202"/>
                    <a:pt x="0" y="202"/>
                    <a:pt x="0" y="202"/>
                  </a:cubicBezTo>
                  <a:cubicBezTo>
                    <a:pt x="64" y="202"/>
                    <a:pt x="64" y="202"/>
                    <a:pt x="64" y="202"/>
                  </a:cubicBezTo>
                  <a:cubicBezTo>
                    <a:pt x="81" y="175"/>
                    <a:pt x="81" y="175"/>
                    <a:pt x="81" y="175"/>
                  </a:cubicBezTo>
                  <a:cubicBezTo>
                    <a:pt x="217" y="175"/>
                    <a:pt x="217" y="175"/>
                    <a:pt x="217" y="175"/>
                  </a:cubicBezTo>
                  <a:cubicBezTo>
                    <a:pt x="235" y="202"/>
                    <a:pt x="235" y="202"/>
                    <a:pt x="235" y="202"/>
                  </a:cubicBezTo>
                  <a:cubicBezTo>
                    <a:pt x="303" y="202"/>
                    <a:pt x="303" y="202"/>
                    <a:pt x="303" y="202"/>
                  </a:cubicBezTo>
                  <a:cubicBezTo>
                    <a:pt x="188" y="18"/>
                    <a:pt x="188" y="18"/>
                    <a:pt x="188" y="18"/>
                  </a:cubicBezTo>
                  <a:lnTo>
                    <a:pt x="115" y="18"/>
                  </a:lnTo>
                  <a:close/>
                  <a:moveTo>
                    <a:pt x="108" y="131"/>
                  </a:moveTo>
                  <a:cubicBezTo>
                    <a:pt x="149" y="65"/>
                    <a:pt x="149" y="65"/>
                    <a:pt x="149" y="65"/>
                  </a:cubicBezTo>
                  <a:cubicBezTo>
                    <a:pt x="190" y="131"/>
                    <a:pt x="190" y="131"/>
                    <a:pt x="190" y="131"/>
                  </a:cubicBezTo>
                  <a:lnTo>
                    <a:pt x="108" y="131"/>
                  </a:lnTo>
                  <a:close/>
                  <a:moveTo>
                    <a:pt x="486" y="19"/>
                  </a:moveTo>
                  <a:cubicBezTo>
                    <a:pt x="325" y="19"/>
                    <a:pt x="325" y="19"/>
                    <a:pt x="325" y="19"/>
                  </a:cubicBezTo>
                  <a:cubicBezTo>
                    <a:pt x="325" y="202"/>
                    <a:pt x="325" y="202"/>
                    <a:pt x="325" y="202"/>
                  </a:cubicBezTo>
                  <a:cubicBezTo>
                    <a:pt x="386" y="202"/>
                    <a:pt x="386" y="202"/>
                    <a:pt x="386" y="202"/>
                  </a:cubicBezTo>
                  <a:cubicBezTo>
                    <a:pt x="386" y="158"/>
                    <a:pt x="386" y="158"/>
                    <a:pt x="386" y="158"/>
                  </a:cubicBezTo>
                  <a:cubicBezTo>
                    <a:pt x="396" y="158"/>
                    <a:pt x="468" y="158"/>
                    <a:pt x="485" y="158"/>
                  </a:cubicBezTo>
                  <a:cubicBezTo>
                    <a:pt x="535" y="158"/>
                    <a:pt x="571" y="146"/>
                    <a:pt x="571" y="89"/>
                  </a:cubicBezTo>
                  <a:cubicBezTo>
                    <a:pt x="571" y="31"/>
                    <a:pt x="535" y="19"/>
                    <a:pt x="486" y="19"/>
                  </a:cubicBezTo>
                  <a:close/>
                  <a:moveTo>
                    <a:pt x="481" y="116"/>
                  </a:moveTo>
                  <a:cubicBezTo>
                    <a:pt x="468" y="116"/>
                    <a:pt x="397" y="116"/>
                    <a:pt x="386" y="116"/>
                  </a:cubicBezTo>
                  <a:cubicBezTo>
                    <a:pt x="386" y="65"/>
                    <a:pt x="386" y="65"/>
                    <a:pt x="386" y="65"/>
                  </a:cubicBezTo>
                  <a:cubicBezTo>
                    <a:pt x="386" y="65"/>
                    <a:pt x="463" y="65"/>
                    <a:pt x="480" y="65"/>
                  </a:cubicBezTo>
                  <a:cubicBezTo>
                    <a:pt x="503" y="65"/>
                    <a:pt x="509" y="71"/>
                    <a:pt x="509" y="90"/>
                  </a:cubicBezTo>
                  <a:cubicBezTo>
                    <a:pt x="509" y="110"/>
                    <a:pt x="503" y="116"/>
                    <a:pt x="481" y="116"/>
                  </a:cubicBezTo>
                  <a:close/>
                  <a:moveTo>
                    <a:pt x="763" y="19"/>
                  </a:moveTo>
                  <a:cubicBezTo>
                    <a:pt x="602" y="19"/>
                    <a:pt x="602" y="19"/>
                    <a:pt x="602" y="19"/>
                  </a:cubicBezTo>
                  <a:cubicBezTo>
                    <a:pt x="602" y="202"/>
                    <a:pt x="602" y="202"/>
                    <a:pt x="602" y="202"/>
                  </a:cubicBezTo>
                  <a:cubicBezTo>
                    <a:pt x="663" y="202"/>
                    <a:pt x="663" y="202"/>
                    <a:pt x="663" y="202"/>
                  </a:cubicBezTo>
                  <a:cubicBezTo>
                    <a:pt x="663" y="158"/>
                    <a:pt x="663" y="158"/>
                    <a:pt x="663" y="158"/>
                  </a:cubicBezTo>
                  <a:cubicBezTo>
                    <a:pt x="673" y="158"/>
                    <a:pt x="745" y="158"/>
                    <a:pt x="762" y="158"/>
                  </a:cubicBezTo>
                  <a:cubicBezTo>
                    <a:pt x="812" y="158"/>
                    <a:pt x="848" y="146"/>
                    <a:pt x="848" y="89"/>
                  </a:cubicBezTo>
                  <a:cubicBezTo>
                    <a:pt x="848" y="31"/>
                    <a:pt x="812" y="19"/>
                    <a:pt x="763" y="19"/>
                  </a:cubicBezTo>
                  <a:close/>
                  <a:moveTo>
                    <a:pt x="758" y="116"/>
                  </a:moveTo>
                  <a:cubicBezTo>
                    <a:pt x="745" y="116"/>
                    <a:pt x="674" y="116"/>
                    <a:pt x="663" y="116"/>
                  </a:cubicBezTo>
                  <a:cubicBezTo>
                    <a:pt x="663" y="65"/>
                    <a:pt x="663" y="65"/>
                    <a:pt x="663" y="65"/>
                  </a:cubicBezTo>
                  <a:cubicBezTo>
                    <a:pt x="663" y="65"/>
                    <a:pt x="740" y="65"/>
                    <a:pt x="757" y="65"/>
                  </a:cubicBezTo>
                  <a:cubicBezTo>
                    <a:pt x="780" y="65"/>
                    <a:pt x="786" y="71"/>
                    <a:pt x="786" y="90"/>
                  </a:cubicBezTo>
                  <a:cubicBezTo>
                    <a:pt x="786" y="110"/>
                    <a:pt x="780" y="116"/>
                    <a:pt x="758" y="116"/>
                  </a:cubicBezTo>
                  <a:close/>
                  <a:moveTo>
                    <a:pt x="866" y="19"/>
                  </a:moveTo>
                  <a:cubicBezTo>
                    <a:pt x="1134" y="19"/>
                    <a:pt x="1134" y="19"/>
                    <a:pt x="1134" y="19"/>
                  </a:cubicBezTo>
                  <a:cubicBezTo>
                    <a:pt x="1134" y="65"/>
                    <a:pt x="1134" y="65"/>
                    <a:pt x="1134" y="65"/>
                  </a:cubicBezTo>
                  <a:cubicBezTo>
                    <a:pt x="1030" y="65"/>
                    <a:pt x="1030" y="65"/>
                    <a:pt x="1030" y="65"/>
                  </a:cubicBezTo>
                  <a:cubicBezTo>
                    <a:pt x="1030" y="202"/>
                    <a:pt x="1030" y="202"/>
                    <a:pt x="1030" y="202"/>
                  </a:cubicBezTo>
                  <a:cubicBezTo>
                    <a:pt x="969" y="202"/>
                    <a:pt x="969" y="202"/>
                    <a:pt x="969" y="202"/>
                  </a:cubicBezTo>
                  <a:cubicBezTo>
                    <a:pt x="969" y="65"/>
                    <a:pt x="969" y="65"/>
                    <a:pt x="969" y="65"/>
                  </a:cubicBezTo>
                  <a:cubicBezTo>
                    <a:pt x="866" y="65"/>
                    <a:pt x="866" y="65"/>
                    <a:pt x="866" y="65"/>
                  </a:cubicBezTo>
                  <a:lnTo>
                    <a:pt x="866" y="19"/>
                  </a:lnTo>
                  <a:close/>
                  <a:moveTo>
                    <a:pt x="1169" y="19"/>
                  </a:moveTo>
                  <a:cubicBezTo>
                    <a:pt x="1230" y="19"/>
                    <a:pt x="1230" y="19"/>
                    <a:pt x="1230" y="19"/>
                  </a:cubicBezTo>
                  <a:cubicBezTo>
                    <a:pt x="1230" y="202"/>
                    <a:pt x="1230" y="202"/>
                    <a:pt x="1230" y="202"/>
                  </a:cubicBezTo>
                  <a:cubicBezTo>
                    <a:pt x="1169" y="202"/>
                    <a:pt x="1169" y="202"/>
                    <a:pt x="1169" y="202"/>
                  </a:cubicBezTo>
                  <a:lnTo>
                    <a:pt x="1169" y="19"/>
                  </a:lnTo>
                  <a:close/>
                  <a:moveTo>
                    <a:pt x="1416" y="14"/>
                  </a:moveTo>
                  <a:cubicBezTo>
                    <a:pt x="1312" y="14"/>
                    <a:pt x="1265" y="30"/>
                    <a:pt x="1265" y="111"/>
                  </a:cubicBezTo>
                  <a:cubicBezTo>
                    <a:pt x="1265" y="191"/>
                    <a:pt x="1311" y="207"/>
                    <a:pt x="1416" y="207"/>
                  </a:cubicBezTo>
                  <a:cubicBezTo>
                    <a:pt x="1520" y="207"/>
                    <a:pt x="1567" y="191"/>
                    <a:pt x="1567" y="110"/>
                  </a:cubicBezTo>
                  <a:cubicBezTo>
                    <a:pt x="1567" y="30"/>
                    <a:pt x="1520" y="14"/>
                    <a:pt x="1416" y="14"/>
                  </a:cubicBezTo>
                  <a:close/>
                  <a:moveTo>
                    <a:pt x="1416" y="162"/>
                  </a:moveTo>
                  <a:cubicBezTo>
                    <a:pt x="1350" y="162"/>
                    <a:pt x="1332" y="158"/>
                    <a:pt x="1332" y="110"/>
                  </a:cubicBezTo>
                  <a:cubicBezTo>
                    <a:pt x="1332" y="63"/>
                    <a:pt x="1350" y="60"/>
                    <a:pt x="1416" y="60"/>
                  </a:cubicBezTo>
                  <a:cubicBezTo>
                    <a:pt x="1481" y="60"/>
                    <a:pt x="1501" y="63"/>
                    <a:pt x="1501" y="111"/>
                  </a:cubicBezTo>
                  <a:cubicBezTo>
                    <a:pt x="1501" y="158"/>
                    <a:pt x="1483" y="162"/>
                    <a:pt x="1416" y="162"/>
                  </a:cubicBezTo>
                  <a:close/>
                  <a:moveTo>
                    <a:pt x="1585" y="19"/>
                  </a:moveTo>
                  <a:cubicBezTo>
                    <a:pt x="1585" y="19"/>
                    <a:pt x="1585" y="19"/>
                    <a:pt x="1585" y="19"/>
                  </a:cubicBezTo>
                  <a:cubicBezTo>
                    <a:pt x="1588" y="18"/>
                    <a:pt x="1589" y="17"/>
                    <a:pt x="1589" y="15"/>
                  </a:cubicBezTo>
                  <a:cubicBezTo>
                    <a:pt x="1589" y="13"/>
                    <a:pt x="1588" y="11"/>
                    <a:pt x="1587" y="11"/>
                  </a:cubicBezTo>
                  <a:cubicBezTo>
                    <a:pt x="1586" y="10"/>
                    <a:pt x="1585" y="9"/>
                    <a:pt x="1581" y="9"/>
                  </a:cubicBezTo>
                  <a:cubicBezTo>
                    <a:pt x="1578" y="9"/>
                    <a:pt x="1576" y="9"/>
                    <a:pt x="1574" y="10"/>
                  </a:cubicBezTo>
                  <a:cubicBezTo>
                    <a:pt x="1574" y="28"/>
                    <a:pt x="1574" y="28"/>
                    <a:pt x="1574" y="28"/>
                  </a:cubicBezTo>
                  <a:cubicBezTo>
                    <a:pt x="1578" y="28"/>
                    <a:pt x="1578" y="28"/>
                    <a:pt x="1578" y="28"/>
                  </a:cubicBezTo>
                  <a:cubicBezTo>
                    <a:pt x="1578" y="21"/>
                    <a:pt x="1578" y="21"/>
                    <a:pt x="1578" y="21"/>
                  </a:cubicBezTo>
                  <a:cubicBezTo>
                    <a:pt x="1580" y="21"/>
                    <a:pt x="1580" y="21"/>
                    <a:pt x="1580" y="21"/>
                  </a:cubicBezTo>
                  <a:cubicBezTo>
                    <a:pt x="1583" y="21"/>
                    <a:pt x="1584" y="22"/>
                    <a:pt x="1584" y="23"/>
                  </a:cubicBezTo>
                  <a:cubicBezTo>
                    <a:pt x="1585" y="26"/>
                    <a:pt x="1585" y="27"/>
                    <a:pt x="1586" y="28"/>
                  </a:cubicBezTo>
                  <a:cubicBezTo>
                    <a:pt x="1590" y="28"/>
                    <a:pt x="1590" y="28"/>
                    <a:pt x="1590" y="28"/>
                  </a:cubicBezTo>
                  <a:cubicBezTo>
                    <a:pt x="1590" y="27"/>
                    <a:pt x="1589" y="26"/>
                    <a:pt x="1589" y="23"/>
                  </a:cubicBezTo>
                  <a:cubicBezTo>
                    <a:pt x="1588" y="21"/>
                    <a:pt x="1587" y="20"/>
                    <a:pt x="1585" y="19"/>
                  </a:cubicBezTo>
                  <a:close/>
                  <a:moveTo>
                    <a:pt x="1580" y="18"/>
                  </a:moveTo>
                  <a:cubicBezTo>
                    <a:pt x="1579" y="18"/>
                    <a:pt x="1579" y="18"/>
                    <a:pt x="1579" y="18"/>
                  </a:cubicBezTo>
                  <a:cubicBezTo>
                    <a:pt x="1579" y="12"/>
                    <a:pt x="1579" y="12"/>
                    <a:pt x="1579" y="12"/>
                  </a:cubicBezTo>
                  <a:cubicBezTo>
                    <a:pt x="1579" y="12"/>
                    <a:pt x="1580" y="12"/>
                    <a:pt x="1581" y="12"/>
                  </a:cubicBezTo>
                  <a:cubicBezTo>
                    <a:pt x="1583" y="12"/>
                    <a:pt x="1585" y="13"/>
                    <a:pt x="1585" y="15"/>
                  </a:cubicBezTo>
                  <a:cubicBezTo>
                    <a:pt x="1585" y="17"/>
                    <a:pt x="1583" y="18"/>
                    <a:pt x="1580" y="18"/>
                  </a:cubicBezTo>
                  <a:close/>
                  <a:moveTo>
                    <a:pt x="1581" y="0"/>
                  </a:moveTo>
                  <a:cubicBezTo>
                    <a:pt x="1571" y="0"/>
                    <a:pt x="1563" y="8"/>
                    <a:pt x="1563" y="18"/>
                  </a:cubicBezTo>
                  <a:cubicBezTo>
                    <a:pt x="1563" y="29"/>
                    <a:pt x="1571" y="37"/>
                    <a:pt x="1581" y="37"/>
                  </a:cubicBezTo>
                  <a:cubicBezTo>
                    <a:pt x="1592" y="37"/>
                    <a:pt x="1600" y="29"/>
                    <a:pt x="1600" y="18"/>
                  </a:cubicBezTo>
                  <a:cubicBezTo>
                    <a:pt x="1600" y="8"/>
                    <a:pt x="1592" y="0"/>
                    <a:pt x="1581" y="0"/>
                  </a:cubicBezTo>
                  <a:close/>
                  <a:moveTo>
                    <a:pt x="1581" y="33"/>
                  </a:moveTo>
                  <a:cubicBezTo>
                    <a:pt x="1573" y="33"/>
                    <a:pt x="1567" y="26"/>
                    <a:pt x="1567" y="18"/>
                  </a:cubicBezTo>
                  <a:cubicBezTo>
                    <a:pt x="1567" y="10"/>
                    <a:pt x="1573" y="4"/>
                    <a:pt x="1581" y="4"/>
                  </a:cubicBezTo>
                  <a:cubicBezTo>
                    <a:pt x="1589" y="4"/>
                    <a:pt x="1595" y="10"/>
                    <a:pt x="1595" y="19"/>
                  </a:cubicBezTo>
                  <a:cubicBezTo>
                    <a:pt x="1595" y="26"/>
                    <a:pt x="1589" y="33"/>
                    <a:pt x="1581" y="33"/>
                  </a:cubicBez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 dirty="0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Rectangle 3"/>
          <p:cNvSpPr/>
          <p:nvPr userDrawn="1"/>
        </p:nvSpPr>
        <p:spPr>
          <a:xfrm>
            <a:off x="-1651" y="3"/>
            <a:ext cx="9145651" cy="6857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436962" y="4879548"/>
            <a:ext cx="209773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75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85" fontAlgn="auto">
              <a:spcBef>
                <a:spcPts val="0"/>
              </a:spcBef>
              <a:spcAft>
                <a:spcPts val="0"/>
              </a:spcAft>
            </a:pPr>
            <a:r>
              <a:rPr lang="en-US" sz="675" dirty="0">
                <a:solidFill>
                  <a:srgbClr val="7E848B"/>
                </a:solidFill>
                <a:ea typeface="+mn-ea"/>
              </a:rPr>
              <a:t>© 2017 Apptio, All rights reserved (v2.6)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-1192" y="4879548"/>
            <a:ext cx="33909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8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85" fontAlgn="auto">
              <a:spcBef>
                <a:spcPts val="0"/>
              </a:spcBef>
              <a:spcAft>
                <a:spcPts val="0"/>
              </a:spcAft>
            </a:pPr>
            <a:fld id="{4C1362D4-5ABD-4326-94E6-7A5ADE3C9964}" type="slidenum">
              <a:rPr lang="en-US" sz="788" smtClean="0">
                <a:solidFill>
                  <a:srgbClr val="FF661C"/>
                </a:solidFill>
                <a:ea typeface="+mn-ea"/>
              </a:rPr>
              <a:pPr defTabSz="91368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88" dirty="0">
              <a:solidFill>
                <a:srgbClr val="FF661C"/>
              </a:solidFill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2" y="914402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41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685" rtl="0" eaLnBrk="1" latinLnBrk="0" hangingPunct="1">
        <a:lnSpc>
          <a:spcPct val="80000"/>
        </a:lnSpc>
        <a:spcBef>
          <a:spcPct val="0"/>
        </a:spcBef>
        <a:buNone/>
        <a:defRPr sz="3225" b="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74313" indent="-274313" algn="l" defTabSz="913685" rtl="0" eaLnBrk="1" latinLnBrk="0" hangingPunct="1">
        <a:spcBef>
          <a:spcPct val="20000"/>
        </a:spcBef>
        <a:buClr>
          <a:schemeClr val="accent1"/>
        </a:buClr>
        <a:buSzPct val="80000"/>
        <a:buFont typeface="Wingdings 3" panose="05040102010807070707" pitchFamily="18" charset="2"/>
        <a:buChar char="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61" indent="-22859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44" indent="-176209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114" indent="-15398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125410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628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47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31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156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8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2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6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0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054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89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731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Footer Placeholder 4"/>
          <p:cNvSpPr txBox="1">
            <a:spLocks/>
          </p:cNvSpPr>
          <p:nvPr userDrawn="1"/>
        </p:nvSpPr>
        <p:spPr>
          <a:xfrm>
            <a:off x="436961" y="4879548"/>
            <a:ext cx="3068239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675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algn="l" defTabSz="913685" rtl="0" fontAlgn="auto">
              <a:spcBef>
                <a:spcPts val="0"/>
              </a:spcBef>
              <a:spcAft>
                <a:spcPts val="0"/>
              </a:spcAft>
            </a:pPr>
            <a:r>
              <a:rPr lang="en-US" sz="600" kern="1200" dirty="0">
                <a:solidFill>
                  <a:schemeClr val="accent2"/>
                </a:solidFill>
                <a:latin typeface="+mn-lt"/>
                <a:ea typeface="+mn-ea"/>
                <a:cs typeface="+mn-cs"/>
              </a:rPr>
              <a:t>© 2016 Technology Business Management Council, All rights reserved (v2.5)</a:t>
            </a:r>
          </a:p>
        </p:txBody>
      </p:sp>
      <p:sp>
        <p:nvSpPr>
          <p:cNvPr id="22" name="Slide Number Placeholder 5"/>
          <p:cNvSpPr txBox="1">
            <a:spLocks/>
          </p:cNvSpPr>
          <p:nvPr userDrawn="1"/>
        </p:nvSpPr>
        <p:spPr>
          <a:xfrm>
            <a:off x="-1192" y="4879548"/>
            <a:ext cx="339090" cy="262265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788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45683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91367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137050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1827336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2284166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274100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3197838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3654669" algn="l" defTabSz="913670" rtl="0" eaLnBrk="1" latinLnBrk="0" hangingPunct="1">
              <a:defRPr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defTabSz="913685" fontAlgn="auto">
              <a:spcBef>
                <a:spcPts val="0"/>
              </a:spcBef>
              <a:spcAft>
                <a:spcPts val="0"/>
              </a:spcAft>
            </a:pPr>
            <a:fld id="{4C1362D4-5ABD-4326-94E6-7A5ADE3C9964}" type="slidenum">
              <a:rPr lang="en-US" sz="700" smtClean="0">
                <a:solidFill>
                  <a:schemeClr val="accent1"/>
                </a:solidFill>
                <a:ea typeface="+mn-ea"/>
              </a:rPr>
              <a:pPr defTabSz="913685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sz="700" dirty="0">
              <a:solidFill>
                <a:schemeClr val="accent1"/>
              </a:solidFill>
              <a:ea typeface="+mn-ea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2" y="914402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6" name="Group 15"/>
          <p:cNvGrpSpPr>
            <a:grpSpLocks noChangeAspect="1"/>
          </p:cNvGrpSpPr>
          <p:nvPr userDrawn="1"/>
        </p:nvGrpSpPr>
        <p:grpSpPr>
          <a:xfrm>
            <a:off x="7721601" y="4855434"/>
            <a:ext cx="1143001" cy="186415"/>
            <a:chOff x="2498725" y="0"/>
            <a:chExt cx="4146551" cy="676276"/>
          </a:xfrm>
        </p:grpSpPr>
        <p:sp>
          <p:nvSpPr>
            <p:cNvPr id="17" name="Freeform 5"/>
            <p:cNvSpPr>
              <a:spLocks noChangeAspect="1" noEditPoints="1"/>
            </p:cNvSpPr>
            <p:nvPr/>
          </p:nvSpPr>
          <p:spPr bwMode="auto">
            <a:xfrm>
              <a:off x="3443288" y="239713"/>
              <a:ext cx="3201988" cy="249238"/>
            </a:xfrm>
            <a:custGeom>
              <a:avLst/>
              <a:gdLst>
                <a:gd name="T0" fmla="*/ 1991 w 33994"/>
                <a:gd name="T1" fmla="*/ 64 h 2645"/>
                <a:gd name="T2" fmla="*/ 1273 w 33994"/>
                <a:gd name="T3" fmla="*/ 555 h 2645"/>
                <a:gd name="T4" fmla="*/ 718 w 33994"/>
                <a:gd name="T5" fmla="*/ 2581 h 2645"/>
                <a:gd name="T6" fmla="*/ 0 w 33994"/>
                <a:gd name="T7" fmla="*/ 555 h 2645"/>
                <a:gd name="T8" fmla="*/ 5171 w 33994"/>
                <a:gd name="T9" fmla="*/ 1881 h 2645"/>
                <a:gd name="T10" fmla="*/ 3195 w 33994"/>
                <a:gd name="T11" fmla="*/ 2581 h 2645"/>
                <a:gd name="T12" fmla="*/ 4133 w 33994"/>
                <a:gd name="T13" fmla="*/ 64 h 2645"/>
                <a:gd name="T14" fmla="*/ 4620 w 33994"/>
                <a:gd name="T15" fmla="*/ 1259 h 2645"/>
                <a:gd name="T16" fmla="*/ 5171 w 33994"/>
                <a:gd name="T17" fmla="*/ 1881 h 2645"/>
                <a:gd name="T18" fmla="*/ 4151 w 33994"/>
                <a:gd name="T19" fmla="*/ 1070 h 2645"/>
                <a:gd name="T20" fmla="*/ 4126 w 33994"/>
                <a:gd name="T21" fmla="*/ 534 h 2645"/>
                <a:gd name="T22" fmla="*/ 3749 w 33994"/>
                <a:gd name="T23" fmla="*/ 1070 h 2645"/>
                <a:gd name="T24" fmla="*/ 4169 w 33994"/>
                <a:gd name="T25" fmla="*/ 1540 h 2645"/>
                <a:gd name="T26" fmla="*/ 3749 w 33994"/>
                <a:gd name="T27" fmla="*/ 2112 h 2645"/>
                <a:gd name="T28" fmla="*/ 4617 w 33994"/>
                <a:gd name="T29" fmla="*/ 1817 h 2645"/>
                <a:gd name="T30" fmla="*/ 7697 w 33994"/>
                <a:gd name="T31" fmla="*/ 1707 h 2645"/>
                <a:gd name="T32" fmla="*/ 6279 w 33994"/>
                <a:gd name="T33" fmla="*/ 64 h 2645"/>
                <a:gd name="T34" fmla="*/ 6833 w 33994"/>
                <a:gd name="T35" fmla="*/ 2581 h 2645"/>
                <a:gd name="T36" fmla="*/ 6840 w 33994"/>
                <a:gd name="T37" fmla="*/ 651 h 2645"/>
                <a:gd name="T38" fmla="*/ 7900 w 33994"/>
                <a:gd name="T39" fmla="*/ 2581 h 2645"/>
                <a:gd name="T40" fmla="*/ 8568 w 33994"/>
                <a:gd name="T41" fmla="*/ 651 h 2645"/>
                <a:gd name="T42" fmla="*/ 9123 w 33994"/>
                <a:gd name="T43" fmla="*/ 2581 h 2645"/>
                <a:gd name="T44" fmla="*/ 8287 w 33994"/>
                <a:gd name="T45" fmla="*/ 64 h 2645"/>
                <a:gd name="T46" fmla="*/ 13062 w 33994"/>
                <a:gd name="T47" fmla="*/ 2411 h 2645"/>
                <a:gd name="T48" fmla="*/ 13062 w 33994"/>
                <a:gd name="T49" fmla="*/ 235 h 2645"/>
                <a:gd name="T50" fmla="*/ 13933 w 33994"/>
                <a:gd name="T51" fmla="*/ 399 h 2645"/>
                <a:gd name="T52" fmla="*/ 11751 w 33994"/>
                <a:gd name="T53" fmla="*/ 1323 h 2645"/>
                <a:gd name="T54" fmla="*/ 13994 w 33994"/>
                <a:gd name="T55" fmla="*/ 2183 h 2645"/>
                <a:gd name="T56" fmla="*/ 13062 w 33994"/>
                <a:gd name="T57" fmla="*/ 2411 h 2645"/>
                <a:gd name="T58" fmla="*/ 16559 w 33994"/>
                <a:gd name="T59" fmla="*/ 2645 h 2645"/>
                <a:gd name="T60" fmla="*/ 16559 w 33994"/>
                <a:gd name="T61" fmla="*/ 0 h 2645"/>
                <a:gd name="T62" fmla="*/ 17593 w 33994"/>
                <a:gd name="T63" fmla="*/ 1323 h 2645"/>
                <a:gd name="T64" fmla="*/ 15524 w 33994"/>
                <a:gd name="T65" fmla="*/ 1323 h 2645"/>
                <a:gd name="T66" fmla="*/ 17593 w 33994"/>
                <a:gd name="T67" fmla="*/ 1323 h 2645"/>
                <a:gd name="T68" fmla="*/ 20254 w 33994"/>
                <a:gd name="T69" fmla="*/ 2411 h 2645"/>
                <a:gd name="T70" fmla="*/ 19589 w 33994"/>
                <a:gd name="T71" fmla="*/ 64 h 2645"/>
                <a:gd name="T72" fmla="*/ 19333 w 33994"/>
                <a:gd name="T73" fmla="*/ 1643 h 2645"/>
                <a:gd name="T74" fmla="*/ 21175 w 33994"/>
                <a:gd name="T75" fmla="*/ 1643 h 2645"/>
                <a:gd name="T76" fmla="*/ 20919 w 33994"/>
                <a:gd name="T77" fmla="*/ 64 h 2645"/>
                <a:gd name="T78" fmla="*/ 24777 w 33994"/>
                <a:gd name="T79" fmla="*/ 2197 h 2645"/>
                <a:gd name="T80" fmla="*/ 23270 w 33994"/>
                <a:gd name="T81" fmla="*/ 64 h 2645"/>
                <a:gd name="T82" fmla="*/ 22950 w 33994"/>
                <a:gd name="T83" fmla="*/ 2581 h 2645"/>
                <a:gd name="T84" fmla="*/ 23206 w 33994"/>
                <a:gd name="T85" fmla="*/ 427 h 2645"/>
                <a:gd name="T86" fmla="*/ 24713 w 33994"/>
                <a:gd name="T87" fmla="*/ 2581 h 2645"/>
                <a:gd name="T88" fmla="*/ 25033 w 33994"/>
                <a:gd name="T89" fmla="*/ 64 h 2645"/>
                <a:gd name="T90" fmla="*/ 24777 w 33994"/>
                <a:gd name="T91" fmla="*/ 2197 h 2645"/>
                <a:gd name="T92" fmla="*/ 26958 w 33994"/>
                <a:gd name="T93" fmla="*/ 1323 h 2645"/>
                <a:gd name="T94" fmla="*/ 28640 w 33994"/>
                <a:gd name="T95" fmla="*/ 566 h 2645"/>
                <a:gd name="T96" fmla="*/ 27993 w 33994"/>
                <a:gd name="T97" fmla="*/ 0 h 2645"/>
                <a:gd name="T98" fmla="*/ 27993 w 33994"/>
                <a:gd name="T99" fmla="*/ 2645 h 2645"/>
                <a:gd name="T100" fmla="*/ 28714 w 33994"/>
                <a:gd name="T101" fmla="*/ 2034 h 2645"/>
                <a:gd name="T102" fmla="*/ 30490 w 33994"/>
                <a:gd name="T103" fmla="*/ 2581 h 2645"/>
                <a:gd name="T104" fmla="*/ 30746 w 33994"/>
                <a:gd name="T105" fmla="*/ 64 h 2645"/>
                <a:gd name="T106" fmla="*/ 30490 w 33994"/>
                <a:gd name="T107" fmla="*/ 2581 h 2645"/>
                <a:gd name="T108" fmla="*/ 32821 w 33994"/>
                <a:gd name="T109" fmla="*/ 64 h 2645"/>
                <a:gd name="T110" fmla="*/ 32565 w 33994"/>
                <a:gd name="T111" fmla="*/ 2581 h 2645"/>
                <a:gd name="T112" fmla="*/ 33994 w 33994"/>
                <a:gd name="T113" fmla="*/ 2347 h 2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3994" h="2645">
                  <a:moveTo>
                    <a:pt x="0" y="64"/>
                  </a:moveTo>
                  <a:cubicBezTo>
                    <a:pt x="1991" y="64"/>
                    <a:pt x="1991" y="64"/>
                    <a:pt x="1991" y="64"/>
                  </a:cubicBezTo>
                  <a:cubicBezTo>
                    <a:pt x="1991" y="555"/>
                    <a:pt x="1991" y="555"/>
                    <a:pt x="1991" y="555"/>
                  </a:cubicBezTo>
                  <a:cubicBezTo>
                    <a:pt x="1273" y="555"/>
                    <a:pt x="1273" y="555"/>
                    <a:pt x="1273" y="555"/>
                  </a:cubicBezTo>
                  <a:cubicBezTo>
                    <a:pt x="1273" y="2581"/>
                    <a:pt x="1273" y="2581"/>
                    <a:pt x="1273" y="2581"/>
                  </a:cubicBezTo>
                  <a:cubicBezTo>
                    <a:pt x="718" y="2581"/>
                    <a:pt x="718" y="2581"/>
                    <a:pt x="718" y="2581"/>
                  </a:cubicBezTo>
                  <a:cubicBezTo>
                    <a:pt x="718" y="555"/>
                    <a:pt x="718" y="555"/>
                    <a:pt x="718" y="555"/>
                  </a:cubicBezTo>
                  <a:cubicBezTo>
                    <a:pt x="0" y="555"/>
                    <a:pt x="0" y="555"/>
                    <a:pt x="0" y="555"/>
                  </a:cubicBezTo>
                  <a:lnTo>
                    <a:pt x="0" y="64"/>
                  </a:lnTo>
                  <a:close/>
                  <a:moveTo>
                    <a:pt x="5171" y="1881"/>
                  </a:moveTo>
                  <a:cubicBezTo>
                    <a:pt x="5171" y="2407"/>
                    <a:pt x="4673" y="2581"/>
                    <a:pt x="4225" y="2581"/>
                  </a:cubicBezTo>
                  <a:cubicBezTo>
                    <a:pt x="3195" y="2581"/>
                    <a:pt x="3195" y="2581"/>
                    <a:pt x="3195" y="2581"/>
                  </a:cubicBezTo>
                  <a:cubicBezTo>
                    <a:pt x="3195" y="64"/>
                    <a:pt x="3195" y="64"/>
                    <a:pt x="3195" y="64"/>
                  </a:cubicBezTo>
                  <a:cubicBezTo>
                    <a:pt x="4133" y="64"/>
                    <a:pt x="4133" y="64"/>
                    <a:pt x="4133" y="64"/>
                  </a:cubicBezTo>
                  <a:cubicBezTo>
                    <a:pt x="4574" y="64"/>
                    <a:pt x="5054" y="157"/>
                    <a:pt x="5054" y="704"/>
                  </a:cubicBezTo>
                  <a:cubicBezTo>
                    <a:pt x="5054" y="985"/>
                    <a:pt x="4880" y="1177"/>
                    <a:pt x="4620" y="1259"/>
                  </a:cubicBezTo>
                  <a:cubicBezTo>
                    <a:pt x="4620" y="1266"/>
                    <a:pt x="4620" y="1266"/>
                    <a:pt x="4620" y="1266"/>
                  </a:cubicBezTo>
                  <a:cubicBezTo>
                    <a:pt x="4951" y="1309"/>
                    <a:pt x="5171" y="1554"/>
                    <a:pt x="5171" y="1881"/>
                  </a:cubicBezTo>
                  <a:close/>
                  <a:moveTo>
                    <a:pt x="3749" y="1070"/>
                  </a:moveTo>
                  <a:cubicBezTo>
                    <a:pt x="4151" y="1070"/>
                    <a:pt x="4151" y="1070"/>
                    <a:pt x="4151" y="1070"/>
                  </a:cubicBezTo>
                  <a:cubicBezTo>
                    <a:pt x="4321" y="1070"/>
                    <a:pt x="4499" y="999"/>
                    <a:pt x="4499" y="797"/>
                  </a:cubicBezTo>
                  <a:cubicBezTo>
                    <a:pt x="4499" y="587"/>
                    <a:pt x="4300" y="534"/>
                    <a:pt x="4126" y="534"/>
                  </a:cubicBezTo>
                  <a:cubicBezTo>
                    <a:pt x="3749" y="534"/>
                    <a:pt x="3749" y="534"/>
                    <a:pt x="3749" y="534"/>
                  </a:cubicBezTo>
                  <a:lnTo>
                    <a:pt x="3749" y="1070"/>
                  </a:lnTo>
                  <a:close/>
                  <a:moveTo>
                    <a:pt x="4617" y="1817"/>
                  </a:moveTo>
                  <a:cubicBezTo>
                    <a:pt x="4617" y="1579"/>
                    <a:pt x="4350" y="1540"/>
                    <a:pt x="4169" y="1540"/>
                  </a:cubicBezTo>
                  <a:cubicBezTo>
                    <a:pt x="3749" y="1540"/>
                    <a:pt x="3749" y="1540"/>
                    <a:pt x="3749" y="1540"/>
                  </a:cubicBezTo>
                  <a:cubicBezTo>
                    <a:pt x="3749" y="2112"/>
                    <a:pt x="3749" y="2112"/>
                    <a:pt x="3749" y="2112"/>
                  </a:cubicBezTo>
                  <a:cubicBezTo>
                    <a:pt x="4247" y="2112"/>
                    <a:pt x="4247" y="2112"/>
                    <a:pt x="4247" y="2112"/>
                  </a:cubicBezTo>
                  <a:cubicBezTo>
                    <a:pt x="4421" y="2112"/>
                    <a:pt x="4617" y="2037"/>
                    <a:pt x="4617" y="1817"/>
                  </a:cubicBezTo>
                  <a:close/>
                  <a:moveTo>
                    <a:pt x="7704" y="1707"/>
                  </a:moveTo>
                  <a:cubicBezTo>
                    <a:pt x="7697" y="1707"/>
                    <a:pt x="7697" y="1707"/>
                    <a:pt x="7697" y="1707"/>
                  </a:cubicBezTo>
                  <a:cubicBezTo>
                    <a:pt x="7118" y="64"/>
                    <a:pt x="7118" y="64"/>
                    <a:pt x="7118" y="64"/>
                  </a:cubicBezTo>
                  <a:cubicBezTo>
                    <a:pt x="6279" y="64"/>
                    <a:pt x="6279" y="64"/>
                    <a:pt x="6279" y="64"/>
                  </a:cubicBezTo>
                  <a:cubicBezTo>
                    <a:pt x="6279" y="2581"/>
                    <a:pt x="6279" y="2581"/>
                    <a:pt x="6279" y="2581"/>
                  </a:cubicBezTo>
                  <a:cubicBezTo>
                    <a:pt x="6833" y="2581"/>
                    <a:pt x="6833" y="2581"/>
                    <a:pt x="6833" y="2581"/>
                  </a:cubicBezTo>
                  <a:cubicBezTo>
                    <a:pt x="6833" y="651"/>
                    <a:pt x="6833" y="651"/>
                    <a:pt x="6833" y="651"/>
                  </a:cubicBezTo>
                  <a:cubicBezTo>
                    <a:pt x="6840" y="651"/>
                    <a:pt x="6840" y="651"/>
                    <a:pt x="6840" y="651"/>
                  </a:cubicBezTo>
                  <a:cubicBezTo>
                    <a:pt x="7477" y="2581"/>
                    <a:pt x="7477" y="2581"/>
                    <a:pt x="7477" y="2581"/>
                  </a:cubicBezTo>
                  <a:cubicBezTo>
                    <a:pt x="7900" y="2581"/>
                    <a:pt x="7900" y="2581"/>
                    <a:pt x="7900" y="2581"/>
                  </a:cubicBezTo>
                  <a:cubicBezTo>
                    <a:pt x="8561" y="651"/>
                    <a:pt x="8561" y="651"/>
                    <a:pt x="8561" y="651"/>
                  </a:cubicBezTo>
                  <a:cubicBezTo>
                    <a:pt x="8568" y="651"/>
                    <a:pt x="8568" y="651"/>
                    <a:pt x="8568" y="651"/>
                  </a:cubicBezTo>
                  <a:cubicBezTo>
                    <a:pt x="8568" y="2581"/>
                    <a:pt x="8568" y="2581"/>
                    <a:pt x="8568" y="2581"/>
                  </a:cubicBezTo>
                  <a:cubicBezTo>
                    <a:pt x="9123" y="2581"/>
                    <a:pt x="9123" y="2581"/>
                    <a:pt x="9123" y="2581"/>
                  </a:cubicBezTo>
                  <a:cubicBezTo>
                    <a:pt x="9123" y="64"/>
                    <a:pt x="9123" y="64"/>
                    <a:pt x="9123" y="64"/>
                  </a:cubicBezTo>
                  <a:cubicBezTo>
                    <a:pt x="8287" y="64"/>
                    <a:pt x="8287" y="64"/>
                    <a:pt x="8287" y="64"/>
                  </a:cubicBezTo>
                  <a:lnTo>
                    <a:pt x="7704" y="1707"/>
                  </a:lnTo>
                  <a:close/>
                  <a:moveTo>
                    <a:pt x="13062" y="2411"/>
                  </a:moveTo>
                  <a:cubicBezTo>
                    <a:pt x="12415" y="2411"/>
                    <a:pt x="12028" y="1902"/>
                    <a:pt x="12028" y="1323"/>
                  </a:cubicBezTo>
                  <a:cubicBezTo>
                    <a:pt x="12028" y="743"/>
                    <a:pt x="12415" y="235"/>
                    <a:pt x="13062" y="235"/>
                  </a:cubicBezTo>
                  <a:cubicBezTo>
                    <a:pt x="13329" y="235"/>
                    <a:pt x="13610" y="402"/>
                    <a:pt x="13709" y="566"/>
                  </a:cubicBezTo>
                  <a:cubicBezTo>
                    <a:pt x="13933" y="399"/>
                    <a:pt x="13933" y="399"/>
                    <a:pt x="13933" y="399"/>
                  </a:cubicBezTo>
                  <a:cubicBezTo>
                    <a:pt x="13713" y="118"/>
                    <a:pt x="13375" y="0"/>
                    <a:pt x="13062" y="0"/>
                  </a:cubicBezTo>
                  <a:cubicBezTo>
                    <a:pt x="12312" y="0"/>
                    <a:pt x="11751" y="558"/>
                    <a:pt x="11751" y="1323"/>
                  </a:cubicBezTo>
                  <a:cubicBezTo>
                    <a:pt x="11751" y="2087"/>
                    <a:pt x="12312" y="2645"/>
                    <a:pt x="13062" y="2645"/>
                  </a:cubicBezTo>
                  <a:cubicBezTo>
                    <a:pt x="13478" y="2645"/>
                    <a:pt x="13827" y="2443"/>
                    <a:pt x="13994" y="2183"/>
                  </a:cubicBezTo>
                  <a:cubicBezTo>
                    <a:pt x="13784" y="2034"/>
                    <a:pt x="13784" y="2034"/>
                    <a:pt x="13784" y="2034"/>
                  </a:cubicBezTo>
                  <a:cubicBezTo>
                    <a:pt x="13595" y="2325"/>
                    <a:pt x="13325" y="2411"/>
                    <a:pt x="13062" y="2411"/>
                  </a:cubicBezTo>
                  <a:close/>
                  <a:moveTo>
                    <a:pt x="17870" y="1323"/>
                  </a:moveTo>
                  <a:cubicBezTo>
                    <a:pt x="17870" y="2087"/>
                    <a:pt x="17309" y="2645"/>
                    <a:pt x="16559" y="2645"/>
                  </a:cubicBezTo>
                  <a:cubicBezTo>
                    <a:pt x="15809" y="2645"/>
                    <a:pt x="15247" y="2087"/>
                    <a:pt x="15247" y="1323"/>
                  </a:cubicBezTo>
                  <a:cubicBezTo>
                    <a:pt x="15247" y="558"/>
                    <a:pt x="15809" y="0"/>
                    <a:pt x="16559" y="0"/>
                  </a:cubicBezTo>
                  <a:cubicBezTo>
                    <a:pt x="17309" y="0"/>
                    <a:pt x="17870" y="558"/>
                    <a:pt x="17870" y="1323"/>
                  </a:cubicBezTo>
                  <a:close/>
                  <a:moveTo>
                    <a:pt x="17593" y="1323"/>
                  </a:moveTo>
                  <a:cubicBezTo>
                    <a:pt x="17593" y="743"/>
                    <a:pt x="17206" y="235"/>
                    <a:pt x="16559" y="235"/>
                  </a:cubicBezTo>
                  <a:cubicBezTo>
                    <a:pt x="15912" y="235"/>
                    <a:pt x="15524" y="743"/>
                    <a:pt x="15524" y="1323"/>
                  </a:cubicBezTo>
                  <a:cubicBezTo>
                    <a:pt x="15524" y="1902"/>
                    <a:pt x="15912" y="2411"/>
                    <a:pt x="16559" y="2411"/>
                  </a:cubicBezTo>
                  <a:cubicBezTo>
                    <a:pt x="17206" y="2411"/>
                    <a:pt x="17593" y="1902"/>
                    <a:pt x="17593" y="1323"/>
                  </a:cubicBezTo>
                  <a:close/>
                  <a:moveTo>
                    <a:pt x="20919" y="1614"/>
                  </a:moveTo>
                  <a:cubicBezTo>
                    <a:pt x="20919" y="2339"/>
                    <a:pt x="20446" y="2411"/>
                    <a:pt x="20254" y="2411"/>
                  </a:cubicBezTo>
                  <a:cubicBezTo>
                    <a:pt x="20062" y="2411"/>
                    <a:pt x="19589" y="2339"/>
                    <a:pt x="19589" y="1614"/>
                  </a:cubicBezTo>
                  <a:cubicBezTo>
                    <a:pt x="19589" y="64"/>
                    <a:pt x="19589" y="64"/>
                    <a:pt x="19589" y="64"/>
                  </a:cubicBezTo>
                  <a:cubicBezTo>
                    <a:pt x="19333" y="64"/>
                    <a:pt x="19333" y="64"/>
                    <a:pt x="19333" y="64"/>
                  </a:cubicBezTo>
                  <a:cubicBezTo>
                    <a:pt x="19333" y="1643"/>
                    <a:pt x="19333" y="1643"/>
                    <a:pt x="19333" y="1643"/>
                  </a:cubicBezTo>
                  <a:cubicBezTo>
                    <a:pt x="19333" y="2062"/>
                    <a:pt x="19500" y="2645"/>
                    <a:pt x="20254" y="2645"/>
                  </a:cubicBezTo>
                  <a:cubicBezTo>
                    <a:pt x="21007" y="2645"/>
                    <a:pt x="21175" y="2062"/>
                    <a:pt x="21175" y="1643"/>
                  </a:cubicBezTo>
                  <a:cubicBezTo>
                    <a:pt x="21175" y="64"/>
                    <a:pt x="21175" y="64"/>
                    <a:pt x="21175" y="64"/>
                  </a:cubicBezTo>
                  <a:cubicBezTo>
                    <a:pt x="20919" y="64"/>
                    <a:pt x="20919" y="64"/>
                    <a:pt x="20919" y="64"/>
                  </a:cubicBezTo>
                  <a:lnTo>
                    <a:pt x="20919" y="1614"/>
                  </a:lnTo>
                  <a:close/>
                  <a:moveTo>
                    <a:pt x="24777" y="2197"/>
                  </a:moveTo>
                  <a:cubicBezTo>
                    <a:pt x="24770" y="2197"/>
                    <a:pt x="24770" y="2197"/>
                    <a:pt x="24770" y="2197"/>
                  </a:cubicBezTo>
                  <a:cubicBezTo>
                    <a:pt x="23270" y="64"/>
                    <a:pt x="23270" y="64"/>
                    <a:pt x="23270" y="64"/>
                  </a:cubicBezTo>
                  <a:cubicBezTo>
                    <a:pt x="22950" y="64"/>
                    <a:pt x="22950" y="64"/>
                    <a:pt x="22950" y="64"/>
                  </a:cubicBezTo>
                  <a:cubicBezTo>
                    <a:pt x="22950" y="2581"/>
                    <a:pt x="22950" y="2581"/>
                    <a:pt x="22950" y="2581"/>
                  </a:cubicBezTo>
                  <a:cubicBezTo>
                    <a:pt x="23206" y="2581"/>
                    <a:pt x="23206" y="2581"/>
                    <a:pt x="23206" y="2581"/>
                  </a:cubicBezTo>
                  <a:cubicBezTo>
                    <a:pt x="23206" y="427"/>
                    <a:pt x="23206" y="427"/>
                    <a:pt x="23206" y="427"/>
                  </a:cubicBezTo>
                  <a:cubicBezTo>
                    <a:pt x="23213" y="427"/>
                    <a:pt x="23213" y="427"/>
                    <a:pt x="23213" y="427"/>
                  </a:cubicBezTo>
                  <a:cubicBezTo>
                    <a:pt x="24713" y="2581"/>
                    <a:pt x="24713" y="2581"/>
                    <a:pt x="24713" y="2581"/>
                  </a:cubicBezTo>
                  <a:cubicBezTo>
                    <a:pt x="25033" y="2581"/>
                    <a:pt x="25033" y="2581"/>
                    <a:pt x="25033" y="2581"/>
                  </a:cubicBezTo>
                  <a:cubicBezTo>
                    <a:pt x="25033" y="64"/>
                    <a:pt x="25033" y="64"/>
                    <a:pt x="25033" y="64"/>
                  </a:cubicBezTo>
                  <a:cubicBezTo>
                    <a:pt x="24777" y="64"/>
                    <a:pt x="24777" y="64"/>
                    <a:pt x="24777" y="64"/>
                  </a:cubicBezTo>
                  <a:lnTo>
                    <a:pt x="24777" y="2197"/>
                  </a:lnTo>
                  <a:close/>
                  <a:moveTo>
                    <a:pt x="27993" y="2411"/>
                  </a:moveTo>
                  <a:cubicBezTo>
                    <a:pt x="27346" y="2411"/>
                    <a:pt x="26958" y="1902"/>
                    <a:pt x="26958" y="1323"/>
                  </a:cubicBezTo>
                  <a:cubicBezTo>
                    <a:pt x="26958" y="743"/>
                    <a:pt x="27346" y="235"/>
                    <a:pt x="27993" y="235"/>
                  </a:cubicBezTo>
                  <a:cubicBezTo>
                    <a:pt x="28259" y="235"/>
                    <a:pt x="28540" y="402"/>
                    <a:pt x="28640" y="566"/>
                  </a:cubicBezTo>
                  <a:cubicBezTo>
                    <a:pt x="28864" y="399"/>
                    <a:pt x="28864" y="399"/>
                    <a:pt x="28864" y="399"/>
                  </a:cubicBezTo>
                  <a:cubicBezTo>
                    <a:pt x="28643" y="118"/>
                    <a:pt x="28306" y="0"/>
                    <a:pt x="27993" y="0"/>
                  </a:cubicBezTo>
                  <a:cubicBezTo>
                    <a:pt x="27243" y="0"/>
                    <a:pt x="26681" y="558"/>
                    <a:pt x="26681" y="1323"/>
                  </a:cubicBezTo>
                  <a:cubicBezTo>
                    <a:pt x="26681" y="2087"/>
                    <a:pt x="27243" y="2645"/>
                    <a:pt x="27993" y="2645"/>
                  </a:cubicBezTo>
                  <a:cubicBezTo>
                    <a:pt x="28409" y="2645"/>
                    <a:pt x="28757" y="2443"/>
                    <a:pt x="28924" y="2183"/>
                  </a:cubicBezTo>
                  <a:cubicBezTo>
                    <a:pt x="28714" y="2034"/>
                    <a:pt x="28714" y="2034"/>
                    <a:pt x="28714" y="2034"/>
                  </a:cubicBezTo>
                  <a:cubicBezTo>
                    <a:pt x="28526" y="2325"/>
                    <a:pt x="28256" y="2411"/>
                    <a:pt x="27993" y="2411"/>
                  </a:cubicBezTo>
                  <a:close/>
                  <a:moveTo>
                    <a:pt x="30490" y="2581"/>
                  </a:moveTo>
                  <a:cubicBezTo>
                    <a:pt x="30746" y="2581"/>
                    <a:pt x="30746" y="2581"/>
                    <a:pt x="30746" y="2581"/>
                  </a:cubicBezTo>
                  <a:cubicBezTo>
                    <a:pt x="30746" y="64"/>
                    <a:pt x="30746" y="64"/>
                    <a:pt x="30746" y="64"/>
                  </a:cubicBezTo>
                  <a:cubicBezTo>
                    <a:pt x="30490" y="64"/>
                    <a:pt x="30490" y="64"/>
                    <a:pt x="30490" y="64"/>
                  </a:cubicBezTo>
                  <a:lnTo>
                    <a:pt x="30490" y="2581"/>
                  </a:lnTo>
                  <a:close/>
                  <a:moveTo>
                    <a:pt x="32821" y="2347"/>
                  </a:moveTo>
                  <a:cubicBezTo>
                    <a:pt x="32821" y="64"/>
                    <a:pt x="32821" y="64"/>
                    <a:pt x="32821" y="64"/>
                  </a:cubicBezTo>
                  <a:cubicBezTo>
                    <a:pt x="32565" y="64"/>
                    <a:pt x="32565" y="64"/>
                    <a:pt x="32565" y="64"/>
                  </a:cubicBezTo>
                  <a:cubicBezTo>
                    <a:pt x="32565" y="2581"/>
                    <a:pt x="32565" y="2581"/>
                    <a:pt x="32565" y="2581"/>
                  </a:cubicBezTo>
                  <a:cubicBezTo>
                    <a:pt x="33994" y="2581"/>
                    <a:pt x="33994" y="2581"/>
                    <a:pt x="33994" y="2581"/>
                  </a:cubicBezTo>
                  <a:cubicBezTo>
                    <a:pt x="33994" y="2347"/>
                    <a:pt x="33994" y="2347"/>
                    <a:pt x="33994" y="2347"/>
                  </a:cubicBezTo>
                  <a:lnTo>
                    <a:pt x="32821" y="2347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3" name="Freeform 6"/>
            <p:cNvSpPr>
              <a:spLocks noChangeAspect="1"/>
            </p:cNvSpPr>
            <p:nvPr/>
          </p:nvSpPr>
          <p:spPr bwMode="auto">
            <a:xfrm>
              <a:off x="2498725" y="141288"/>
              <a:ext cx="546100" cy="534988"/>
            </a:xfrm>
            <a:custGeom>
              <a:avLst/>
              <a:gdLst>
                <a:gd name="T0" fmla="*/ 209 w 344"/>
                <a:gd name="T1" fmla="*/ 0 h 337"/>
                <a:gd name="T2" fmla="*/ 0 w 344"/>
                <a:gd name="T3" fmla="*/ 0 h 337"/>
                <a:gd name="T4" fmla="*/ 0 w 344"/>
                <a:gd name="T5" fmla="*/ 337 h 337"/>
                <a:gd name="T6" fmla="*/ 344 w 344"/>
                <a:gd name="T7" fmla="*/ 337 h 337"/>
                <a:gd name="T8" fmla="*/ 344 w 344"/>
                <a:gd name="T9" fmla="*/ 133 h 337"/>
                <a:gd name="T10" fmla="*/ 209 w 344"/>
                <a:gd name="T11" fmla="*/ 133 h 337"/>
                <a:gd name="T12" fmla="*/ 209 w 344"/>
                <a:gd name="T13" fmla="*/ 0 h 337"/>
                <a:gd name="T14" fmla="*/ 209 w 344"/>
                <a:gd name="T15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44" h="337">
                  <a:moveTo>
                    <a:pt x="209" y="0"/>
                  </a:moveTo>
                  <a:lnTo>
                    <a:pt x="0" y="0"/>
                  </a:lnTo>
                  <a:lnTo>
                    <a:pt x="0" y="337"/>
                  </a:lnTo>
                  <a:lnTo>
                    <a:pt x="344" y="337"/>
                  </a:lnTo>
                  <a:lnTo>
                    <a:pt x="344" y="133"/>
                  </a:lnTo>
                  <a:lnTo>
                    <a:pt x="209" y="133"/>
                  </a:lnTo>
                  <a:lnTo>
                    <a:pt x="209" y="0"/>
                  </a:lnTo>
                  <a:lnTo>
                    <a:pt x="209" y="0"/>
                  </a:lnTo>
                  <a:close/>
                </a:path>
              </a:pathLst>
            </a:custGeom>
            <a:solidFill>
              <a:srgbClr val="F899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  <p:sp>
          <p:nvSpPr>
            <p:cNvPr id="24" name="Freeform 7"/>
            <p:cNvSpPr>
              <a:spLocks noChangeAspect="1"/>
            </p:cNvSpPr>
            <p:nvPr/>
          </p:nvSpPr>
          <p:spPr bwMode="auto">
            <a:xfrm>
              <a:off x="2830513" y="0"/>
              <a:ext cx="350838" cy="352425"/>
            </a:xfrm>
            <a:custGeom>
              <a:avLst/>
              <a:gdLst>
                <a:gd name="T0" fmla="*/ 221 w 221"/>
                <a:gd name="T1" fmla="*/ 0 h 222"/>
                <a:gd name="T2" fmla="*/ 0 w 221"/>
                <a:gd name="T3" fmla="*/ 0 h 222"/>
                <a:gd name="T4" fmla="*/ 0 w 221"/>
                <a:gd name="T5" fmla="*/ 89 h 222"/>
                <a:gd name="T6" fmla="*/ 135 w 221"/>
                <a:gd name="T7" fmla="*/ 89 h 222"/>
                <a:gd name="T8" fmla="*/ 135 w 221"/>
                <a:gd name="T9" fmla="*/ 222 h 222"/>
                <a:gd name="T10" fmla="*/ 221 w 221"/>
                <a:gd name="T11" fmla="*/ 222 h 222"/>
                <a:gd name="T12" fmla="*/ 221 w 221"/>
                <a:gd name="T13" fmla="*/ 0 h 222"/>
                <a:gd name="T14" fmla="*/ 221 w 221"/>
                <a:gd name="T15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21" h="222">
                  <a:moveTo>
                    <a:pt x="221" y="0"/>
                  </a:moveTo>
                  <a:lnTo>
                    <a:pt x="0" y="0"/>
                  </a:lnTo>
                  <a:lnTo>
                    <a:pt x="0" y="89"/>
                  </a:lnTo>
                  <a:lnTo>
                    <a:pt x="135" y="89"/>
                  </a:lnTo>
                  <a:lnTo>
                    <a:pt x="135" y="222"/>
                  </a:lnTo>
                  <a:lnTo>
                    <a:pt x="221" y="222"/>
                  </a:lnTo>
                  <a:lnTo>
                    <a:pt x="221" y="0"/>
                  </a:lnTo>
                  <a:lnTo>
                    <a:pt x="221" y="0"/>
                  </a:lnTo>
                  <a:close/>
                </a:path>
              </a:pathLst>
            </a:custGeom>
            <a:solidFill>
              <a:srgbClr val="F1682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800"/>
            </a:p>
          </p:txBody>
        </p:sp>
      </p:grpSp>
      <p:sp>
        <p:nvSpPr>
          <p:cNvPr id="25" name="Rectangle 24"/>
          <p:cNvSpPr/>
          <p:nvPr userDrawn="1"/>
        </p:nvSpPr>
        <p:spPr>
          <a:xfrm>
            <a:off x="0" y="5092700"/>
            <a:ext cx="9144000" cy="6179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</p:spTree>
    <p:extLst>
      <p:ext uri="{BB962C8B-B14F-4D97-AF65-F5344CB8AC3E}">
        <p14:creationId xmlns:p14="http://schemas.microsoft.com/office/powerpoint/2010/main" val="3169043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5" r:id="rId1"/>
    <p:sldLayoutId id="2147484146" r:id="rId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685" rtl="0" eaLnBrk="1" latinLnBrk="0" hangingPunct="1">
        <a:lnSpc>
          <a:spcPct val="80000"/>
        </a:lnSpc>
        <a:spcBef>
          <a:spcPct val="0"/>
        </a:spcBef>
        <a:buNone/>
        <a:defRPr sz="2800" b="1" kern="1200" cap="none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74313" indent="-274313" algn="l" defTabSz="913685" rtl="0" eaLnBrk="1" latinLnBrk="0" hangingPunct="1">
        <a:spcBef>
          <a:spcPct val="20000"/>
        </a:spcBef>
        <a:buClr>
          <a:schemeClr val="accent1"/>
        </a:buClr>
        <a:buSzPct val="80000"/>
        <a:buFont typeface="Wingdings 3" panose="05040102010807070707" pitchFamily="18" charset="2"/>
        <a:buChar char="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61" indent="-22859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44" indent="-176209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114" indent="-153984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125410" algn="l" defTabSz="913685" rtl="0" eaLnBrk="1" latinLnBrk="0" hangingPunct="1">
        <a:spcBef>
          <a:spcPct val="20000"/>
        </a:spcBef>
        <a:buClrTx/>
        <a:buFont typeface="Wingdings" panose="05000000000000000000" pitchFamily="2" charset="2"/>
        <a:buChar char="§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628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47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31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156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8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2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6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0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054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89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731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10170"/>
            <a:ext cx="8229601" cy="904230"/>
          </a:xfrm>
          <a:prstGeom prst="rect">
            <a:avLst/>
          </a:prstGeom>
        </p:spPr>
        <p:txBody>
          <a:bodyPr vert="horz" lIns="0" tIns="60912" rIns="0" bIns="60912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>
          <a:xfrm>
            <a:off x="457202" y="914402"/>
            <a:ext cx="8229601" cy="3714749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4360162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3685" rtl="0" eaLnBrk="1" latinLnBrk="0" hangingPunct="1">
        <a:lnSpc>
          <a:spcPct val="80000"/>
        </a:lnSpc>
        <a:spcBef>
          <a:spcPct val="0"/>
        </a:spcBef>
        <a:buNone/>
        <a:defRPr sz="2800" b="1" kern="1200" cap="none" baseline="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274313" indent="-274313" algn="l" defTabSz="913685" rtl="0" eaLnBrk="1" latinLnBrk="0" hangingPunct="1">
        <a:spcBef>
          <a:spcPct val="20000"/>
        </a:spcBef>
        <a:buClr>
          <a:schemeClr val="accent1"/>
        </a:buClr>
        <a:buSzPct val="80000"/>
        <a:buFont typeface="Arial" charset="0"/>
        <a:buChar char="•"/>
        <a:defRPr lang="en-US" sz="2100" b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74661" indent="-228594" algn="l" defTabSz="913685" rtl="0" eaLnBrk="1" latinLnBrk="0" hangingPunct="1">
        <a:spcBef>
          <a:spcPct val="20000"/>
        </a:spcBef>
        <a:buClrTx/>
        <a:buFont typeface="Arial" charset="0"/>
        <a:buChar char="•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6744" indent="-176209" algn="l" defTabSz="913685" rtl="0" eaLnBrk="1" latinLnBrk="0" hangingPunct="1">
        <a:spcBef>
          <a:spcPct val="20000"/>
        </a:spcBef>
        <a:buClrTx/>
        <a:buFont typeface="Arial" charset="0"/>
        <a:buChar char="•"/>
        <a:defRPr lang="en-US" sz="15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73114" indent="-153984" algn="l" defTabSz="913685" rtl="0" eaLnBrk="1" latinLnBrk="0" hangingPunct="1">
        <a:spcBef>
          <a:spcPct val="20000"/>
        </a:spcBef>
        <a:buClrTx/>
        <a:buFont typeface="Arial" charset="0"/>
        <a:buChar char="•"/>
        <a:defRPr lang="en-US" sz="135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2972" indent="-125410" algn="l" defTabSz="913685" rtl="0" eaLnBrk="1" latinLnBrk="0" hangingPunct="1">
        <a:spcBef>
          <a:spcPct val="20000"/>
        </a:spcBef>
        <a:buClrTx/>
        <a:buFont typeface="Arial" charset="0"/>
        <a:buChar char="•"/>
        <a:defRPr lang="en-US" sz="135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2628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6pPr>
      <a:lvl7pPr marL="296947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7pPr>
      <a:lvl8pPr marL="3426312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8pPr>
      <a:lvl9pPr marL="3883156" indent="-228428" algn="l" defTabSz="913685" rtl="0" eaLnBrk="1" latinLnBrk="0" hangingPunct="1">
        <a:spcBef>
          <a:spcPct val="20000"/>
        </a:spcBef>
        <a:buFont typeface="+mj-lt"/>
        <a:buChar char="•"/>
        <a:defRPr sz="202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84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68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52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368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205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054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7892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4731" algn="l" defTabSz="9136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16">
          <p15:clr>
            <a:srgbClr val="F26B43"/>
          </p15:clr>
        </p15:guide>
        <p15:guide id="2" pos="288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319206" y="1594655"/>
            <a:ext cx="5594023" cy="97709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 smtClean="0"/>
              <a:t>Taxonomy Evolution Sub-Committee Updat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19201" y="2758148"/>
            <a:ext cx="5594024" cy="406400"/>
          </a:xfrm>
        </p:spPr>
        <p:txBody>
          <a:bodyPr>
            <a:normAutofit/>
          </a:bodyPr>
          <a:lstStyle/>
          <a:p>
            <a:r>
              <a:rPr lang="en-US" dirty="0" smtClean="0"/>
              <a:t>TBM Metric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3318444" y="3164548"/>
            <a:ext cx="5595371" cy="374650"/>
          </a:xfrm>
        </p:spPr>
        <p:txBody>
          <a:bodyPr>
            <a:normAutofit/>
          </a:bodyPr>
          <a:lstStyle/>
          <a:p>
            <a:r>
              <a:rPr lang="en-US" dirty="0" smtClean="0"/>
              <a:t>September 24, 2019</a:t>
            </a:r>
          </a:p>
        </p:txBody>
      </p:sp>
    </p:spTree>
    <p:extLst>
      <p:ext uri="{BB962C8B-B14F-4D97-AF65-F5344CB8AC3E}">
        <p14:creationId xmlns:p14="http://schemas.microsoft.com/office/powerpoint/2010/main" val="3178034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 Customer Satisfaction 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US" dirty="0" smtClean="0"/>
              <a:t>% </a:t>
            </a:r>
            <a:r>
              <a:rPr lang="en-US" dirty="0"/>
              <a:t>of </a:t>
            </a:r>
            <a:r>
              <a:rPr lang="en-US" dirty="0" smtClean="0"/>
              <a:t>critical </a:t>
            </a:r>
            <a:r>
              <a:rPr lang="en-US" dirty="0">
                <a:solidFill>
                  <a:schemeClr val="accent1"/>
                </a:solidFill>
              </a:rPr>
              <a:t>SLAs met</a:t>
            </a:r>
          </a:p>
          <a:p>
            <a:pPr>
              <a:spcBef>
                <a:spcPts val="1200"/>
              </a:spcBef>
            </a:pPr>
            <a:r>
              <a:rPr lang="en-US" dirty="0">
                <a:solidFill>
                  <a:schemeClr val="accent1"/>
                </a:solidFill>
              </a:rPr>
              <a:t>Minutes downtime </a:t>
            </a:r>
            <a:r>
              <a:rPr lang="en-US" dirty="0"/>
              <a:t>for critical business systems</a:t>
            </a:r>
          </a:p>
          <a:p>
            <a:pPr>
              <a:spcBef>
                <a:spcPts val="1200"/>
              </a:spcBef>
            </a:pPr>
            <a:r>
              <a:rPr lang="en-US" dirty="0"/>
              <a:t>% of </a:t>
            </a:r>
            <a:r>
              <a:rPr lang="en-US" dirty="0">
                <a:solidFill>
                  <a:schemeClr val="accent1"/>
                </a:solidFill>
              </a:rPr>
              <a:t>failed customer interactions </a:t>
            </a:r>
            <a:r>
              <a:rPr lang="en-US" dirty="0"/>
              <a:t>followed up on</a:t>
            </a:r>
          </a:p>
          <a:p>
            <a:pPr>
              <a:spcBef>
                <a:spcPts val="1200"/>
              </a:spcBef>
            </a:pPr>
            <a:r>
              <a:rPr lang="en-US" dirty="0"/>
              <a:t>% of projects </a:t>
            </a:r>
            <a:r>
              <a:rPr lang="en-US" dirty="0">
                <a:solidFill>
                  <a:schemeClr val="accent1"/>
                </a:solidFill>
              </a:rPr>
              <a:t>exceeding benefits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% </a:t>
            </a:r>
            <a:r>
              <a:rPr lang="en-US" dirty="0"/>
              <a:t>of user </a:t>
            </a:r>
            <a:r>
              <a:rPr lang="en-US" dirty="0">
                <a:solidFill>
                  <a:schemeClr val="accent1"/>
                </a:solidFill>
              </a:rPr>
              <a:t>incidents re-opened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External </a:t>
            </a:r>
            <a:r>
              <a:rPr lang="en-US" dirty="0">
                <a:solidFill>
                  <a:schemeClr val="accent1"/>
                </a:solidFill>
              </a:rPr>
              <a:t>customer satisfaction </a:t>
            </a:r>
            <a:r>
              <a:rPr lang="en-US" dirty="0" smtClean="0"/>
              <a:t>score</a:t>
            </a:r>
            <a:endParaRPr lang="en-US" dirty="0"/>
          </a:p>
          <a:p>
            <a:pPr>
              <a:spcBef>
                <a:spcPts val="1200"/>
              </a:spcBef>
            </a:pPr>
            <a:r>
              <a:rPr lang="en-US" dirty="0" smtClean="0"/>
              <a:t>Internal </a:t>
            </a:r>
            <a:r>
              <a:rPr lang="en-US" dirty="0">
                <a:solidFill>
                  <a:schemeClr val="accent1"/>
                </a:solidFill>
              </a:rPr>
              <a:t>end-user satisfaction </a:t>
            </a:r>
            <a:r>
              <a:rPr lang="en-US" dirty="0" smtClean="0"/>
              <a:t>sco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3336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 Speed to Market </a:t>
            </a:r>
            <a:endParaRPr lang="en-US" b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1800"/>
              </a:spcBef>
            </a:pPr>
            <a:r>
              <a:rPr lang="en-US" dirty="0"/>
              <a:t>% of strategic IT suppliers with </a:t>
            </a:r>
            <a:r>
              <a:rPr lang="en-US" dirty="0">
                <a:solidFill>
                  <a:schemeClr val="accent1"/>
                </a:solidFill>
              </a:rPr>
              <a:t>Business Outcome KPIs</a:t>
            </a:r>
          </a:p>
          <a:p>
            <a:pPr>
              <a:spcBef>
                <a:spcPts val="1800"/>
              </a:spcBef>
            </a:pPr>
            <a:r>
              <a:rPr lang="en-US" dirty="0"/>
              <a:t>% of IT spend on </a:t>
            </a:r>
            <a:r>
              <a:rPr lang="en-US" dirty="0">
                <a:solidFill>
                  <a:schemeClr val="accent1"/>
                </a:solidFill>
              </a:rPr>
              <a:t>public cloud </a:t>
            </a:r>
            <a:r>
              <a:rPr lang="en-US" dirty="0"/>
              <a:t>(IaaS, PaaS, SaaS)</a:t>
            </a:r>
          </a:p>
          <a:p>
            <a:pPr>
              <a:spcBef>
                <a:spcPts val="1800"/>
              </a:spcBef>
            </a:pPr>
            <a:r>
              <a:rPr lang="en-US" dirty="0"/>
              <a:t>% of projects delivered </a:t>
            </a:r>
            <a:r>
              <a:rPr lang="en-US" dirty="0">
                <a:solidFill>
                  <a:schemeClr val="accent1"/>
                </a:solidFill>
              </a:rPr>
              <a:t>on time and on budget</a:t>
            </a:r>
          </a:p>
          <a:p>
            <a:pPr>
              <a:spcBef>
                <a:spcPts val="1800"/>
              </a:spcBef>
            </a:pPr>
            <a:r>
              <a:rPr lang="en-US" dirty="0"/>
              <a:t>% of IT resources on </a:t>
            </a:r>
            <a:r>
              <a:rPr lang="en-US" dirty="0">
                <a:solidFill>
                  <a:schemeClr val="accent1"/>
                </a:solidFill>
              </a:rPr>
              <a:t>Agile teams</a:t>
            </a:r>
          </a:p>
          <a:p>
            <a:pPr marL="0" indent="0">
              <a:spcBef>
                <a:spcPts val="1800"/>
              </a:spcBef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6555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nage </a:t>
            </a:r>
            <a:r>
              <a:rPr lang="en-US" dirty="0" smtClean="0"/>
              <a:t>Risk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spcBef>
                <a:spcPts val="1200"/>
              </a:spcBef>
            </a:pPr>
            <a:r>
              <a:rPr lang="en-US" dirty="0">
                <a:solidFill>
                  <a:schemeClr val="accent1"/>
                </a:solidFill>
              </a:rPr>
              <a:t>Revenue lost </a:t>
            </a:r>
            <a:r>
              <a:rPr lang="en-US" dirty="0"/>
              <a:t>to major incidents</a:t>
            </a:r>
          </a:p>
          <a:p>
            <a:pPr>
              <a:spcBef>
                <a:spcPts val="1200"/>
              </a:spcBef>
            </a:pPr>
            <a:r>
              <a:rPr lang="en-US" dirty="0"/>
              <a:t># of </a:t>
            </a:r>
            <a:r>
              <a:rPr lang="en-US" dirty="0">
                <a:solidFill>
                  <a:schemeClr val="accent1"/>
                </a:solidFill>
              </a:rPr>
              <a:t>security or data breaches </a:t>
            </a:r>
            <a:r>
              <a:rPr lang="en-US" dirty="0"/>
              <a:t>requiring manual intervention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% annual </a:t>
            </a:r>
            <a:r>
              <a:rPr lang="en-US" dirty="0"/>
              <a:t>IT </a:t>
            </a:r>
            <a:r>
              <a:rPr lang="en-US" dirty="0">
                <a:solidFill>
                  <a:schemeClr val="accent1"/>
                </a:solidFill>
              </a:rPr>
              <a:t>budget variance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% </a:t>
            </a:r>
            <a:r>
              <a:rPr lang="en-US" dirty="0"/>
              <a:t>of projects not adhering to </a:t>
            </a:r>
            <a:r>
              <a:rPr lang="en-US" dirty="0">
                <a:solidFill>
                  <a:schemeClr val="accent1"/>
                </a:solidFill>
              </a:rPr>
              <a:t>technology standards</a:t>
            </a:r>
          </a:p>
          <a:p>
            <a:pPr>
              <a:spcBef>
                <a:spcPts val="1200"/>
              </a:spcBef>
            </a:pPr>
            <a:r>
              <a:rPr lang="en-US" dirty="0"/>
              <a:t>% </a:t>
            </a:r>
            <a:r>
              <a:rPr lang="en-US" dirty="0">
                <a:solidFill>
                  <a:schemeClr val="accent1"/>
                </a:solidFill>
              </a:rPr>
              <a:t>headcount</a:t>
            </a:r>
            <a:r>
              <a:rPr lang="en-US" dirty="0"/>
              <a:t> to plan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% </a:t>
            </a:r>
            <a:r>
              <a:rPr lang="en-US" dirty="0"/>
              <a:t>of staff completing required </a:t>
            </a:r>
            <a:r>
              <a:rPr lang="en-US" dirty="0">
                <a:solidFill>
                  <a:schemeClr val="accent1"/>
                </a:solidFill>
              </a:rPr>
              <a:t>training</a:t>
            </a:r>
          </a:p>
          <a:p>
            <a:pPr>
              <a:spcBef>
                <a:spcPts val="1200"/>
              </a:spcBef>
            </a:pPr>
            <a:r>
              <a:rPr lang="en-US" dirty="0"/>
              <a:t>% of assets &lt;12 months until </a:t>
            </a:r>
            <a:r>
              <a:rPr lang="en-US" dirty="0">
                <a:solidFill>
                  <a:schemeClr val="accent1"/>
                </a:solidFill>
              </a:rPr>
              <a:t>end-of-life</a:t>
            </a:r>
          </a:p>
          <a:p>
            <a:pPr>
              <a:spcBef>
                <a:spcPts val="1200"/>
              </a:spcBef>
            </a:pPr>
            <a:r>
              <a:rPr lang="en-US" dirty="0"/>
              <a:t>% of major software licenses in </a:t>
            </a:r>
            <a:r>
              <a:rPr lang="en-US" dirty="0">
                <a:solidFill>
                  <a:schemeClr val="accent1"/>
                </a:solidFill>
              </a:rPr>
              <a:t>audit compliance</a:t>
            </a:r>
          </a:p>
          <a:p>
            <a:pPr>
              <a:spcBef>
                <a:spcPts val="1200"/>
              </a:spcBef>
            </a:pP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5234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ndard Metric Definitio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</p:nvPr>
        </p:nvGraphicFramePr>
        <p:xfrm>
          <a:off x="457200" y="806523"/>
          <a:ext cx="8229600" cy="4094254"/>
        </p:xfrm>
        <a:graphic>
          <a:graphicData uri="http://schemas.openxmlformats.org/drawingml/2006/table">
            <a:tbl>
              <a:tblPr firstRow="1" bandRow="1">
                <a:tableStyleId>{B482DE17-1FC4-41D7-B2E8-05BAB7828703}</a:tableStyleId>
              </a:tblPr>
              <a:tblGrid>
                <a:gridCol w="1571946">
                  <a:extLst>
                    <a:ext uri="{9D8B030D-6E8A-4147-A177-3AD203B41FA5}">
                      <a16:colId xmlns:a16="http://schemas.microsoft.com/office/drawing/2014/main" val="1405088732"/>
                    </a:ext>
                  </a:extLst>
                </a:gridCol>
                <a:gridCol w="6657654">
                  <a:extLst>
                    <a:ext uri="{9D8B030D-6E8A-4147-A177-3AD203B41FA5}">
                      <a16:colId xmlns:a16="http://schemas.microsoft.com/office/drawing/2014/main" val="1728045113"/>
                    </a:ext>
                  </a:extLst>
                </a:gridCol>
              </a:tblGrid>
              <a:tr h="289376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Concept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Purpose</a:t>
                      </a:r>
                      <a:endParaRPr lang="en-US" sz="12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 anchor="b"/>
                </a:tc>
                <a:extLst>
                  <a:ext uri="{0D108BD9-81ED-4DB2-BD59-A6C34878D82A}">
                    <a16:rowId xmlns:a16="http://schemas.microsoft.com/office/drawing/2014/main" val="1928517213"/>
                  </a:ext>
                </a:extLst>
              </a:tr>
              <a:tr h="44513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Metric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Specific name of a metric. 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262694410"/>
                  </a:ext>
                </a:extLst>
              </a:tr>
              <a:tr h="44513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Primary Persona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The role within IT who is primarily interested in the tracking and managing</a:t>
                      </a:r>
                      <a:r>
                        <a:rPr lang="en-US" sz="1100" u="none" strike="noStrike" baseline="0" dirty="0">
                          <a:effectLst/>
                        </a:rPr>
                        <a:t> the </a:t>
                      </a:r>
                      <a:r>
                        <a:rPr lang="en-US" sz="1100" u="none" strike="noStrike" dirty="0">
                          <a:effectLst/>
                        </a:rPr>
                        <a:t>metric. 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254828083"/>
                  </a:ext>
                </a:extLst>
              </a:tr>
              <a:tr h="44513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Audience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Is the metric for internal IT use or shared with business consumers or users outside</a:t>
                      </a:r>
                      <a:r>
                        <a:rPr lang="en-US" sz="1100" u="none" strike="noStrike" baseline="0" dirty="0">
                          <a:effectLst/>
                        </a:rPr>
                        <a:t> IT</a:t>
                      </a:r>
                      <a:r>
                        <a:rPr lang="en-US" sz="1100" u="none" strike="noStrike" dirty="0">
                          <a:effectLst/>
                        </a:rPr>
                        <a:t>.  Recommended categories:  Internal, External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032763867"/>
                  </a:ext>
                </a:extLst>
              </a:tr>
              <a:tr h="38684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Maturity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Broad categorization of the </a:t>
                      </a:r>
                      <a:r>
                        <a:rPr lang="en-US" sz="1100" u="none" strike="noStrike" baseline="0" dirty="0">
                          <a:effectLst/>
                        </a:rPr>
                        <a:t>org, process and data </a:t>
                      </a:r>
                      <a:r>
                        <a:rPr lang="en-US" sz="1100" u="none" strike="noStrike" dirty="0">
                          <a:effectLst/>
                        </a:rPr>
                        <a:t>maturity required</a:t>
                      </a:r>
                      <a:r>
                        <a:rPr lang="en-US" sz="1100" u="none" strike="noStrike" baseline="0" dirty="0">
                          <a:effectLst/>
                        </a:rPr>
                        <a:t> to </a:t>
                      </a:r>
                      <a:r>
                        <a:rPr lang="en-US" sz="1100" u="none" strike="noStrike" dirty="0">
                          <a:effectLst/>
                        </a:rPr>
                        <a:t>track a specifi</a:t>
                      </a:r>
                      <a:r>
                        <a:rPr lang="en-US" sz="1100" u="none" strike="noStrike" baseline="0" dirty="0">
                          <a:effectLst/>
                        </a:rPr>
                        <a:t>c metric</a:t>
                      </a:r>
                      <a:r>
                        <a:rPr lang="en-US" sz="1100" u="none" strike="noStrike" dirty="0">
                          <a:effectLst/>
                        </a:rPr>
                        <a:t>.  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856365123"/>
                  </a:ext>
                </a:extLst>
              </a:tr>
              <a:tr h="38684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Description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Description explaining the full meaning and purpose of the metric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278265662"/>
                  </a:ext>
                </a:extLst>
              </a:tr>
              <a:tr h="476934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Rationale / Actions to Improve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The primary reason for tracking and managing the metric.  Ideally speaks to the actions that would be taken if not in an expected range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69813721"/>
                  </a:ext>
                </a:extLst>
              </a:tr>
              <a:tr h="38684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Frequency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How often the metric should be measured and reviewed and any targets adjusted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148079681"/>
                  </a:ext>
                </a:extLst>
              </a:tr>
              <a:tr h="386847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Calculation 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Specific formula to calculate the metric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311212971"/>
                  </a:ext>
                </a:extLst>
              </a:tr>
              <a:tr h="445139"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1" u="none" strike="noStrike" dirty="0">
                          <a:effectLst/>
                        </a:rPr>
                        <a:t>Data Required</a:t>
                      </a:r>
                      <a:endParaRPr lang="en-US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100" u="none" strike="noStrike" dirty="0">
                          <a:effectLst/>
                        </a:rPr>
                        <a:t>Underlying data required to support the metric calculation.  Should identify the source of where the data can be found.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039043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2398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36357" y="2260794"/>
            <a:ext cx="4850446" cy="532357"/>
          </a:xfrm>
        </p:spPr>
        <p:txBody>
          <a:bodyPr/>
          <a:lstStyle/>
          <a:p>
            <a:pPr>
              <a:lnSpc>
                <a:spcPct val="95000"/>
              </a:lnSpc>
              <a:spcBef>
                <a:spcPts val="1200"/>
              </a:spcBef>
              <a:spcAft>
                <a:spcPts val="1200"/>
              </a:spcAft>
            </a:pPr>
            <a:r>
              <a:rPr lang="en-US" dirty="0"/>
              <a:t>Thank You!</a:t>
            </a:r>
          </a:p>
        </p:txBody>
      </p:sp>
    </p:spTree>
    <p:extLst>
      <p:ext uri="{BB962C8B-B14F-4D97-AF65-F5344CB8AC3E}">
        <p14:creationId xmlns:p14="http://schemas.microsoft.com/office/powerpoint/2010/main" val="624784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9072" y="760288"/>
            <a:ext cx="2186517" cy="3981835"/>
          </a:xfrm>
          <a:prstGeom prst="rect">
            <a:avLst/>
          </a:prstGeom>
        </p:spPr>
      </p:pic>
      <p:sp>
        <p:nvSpPr>
          <p:cNvPr id="5" name="Content Placeholder 4"/>
          <p:cNvSpPr>
            <a:spLocks noGrp="1"/>
          </p:cNvSpPr>
          <p:nvPr>
            <p:ph sz="quarter" idx="16"/>
          </p:nvPr>
        </p:nvSpPr>
        <p:spPr>
          <a:xfrm>
            <a:off x="457200" y="1232299"/>
            <a:ext cx="5486400" cy="3396853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spcBef>
                <a:spcPts val="900"/>
              </a:spcBef>
            </a:pPr>
            <a:r>
              <a:rPr lang="en-US" sz="1800" dirty="0">
                <a:latin typeface="Calibri" panose="020F0502020204030204" pitchFamily="34" charset="0"/>
              </a:rPr>
              <a:t>Evolve and improve the standard TBM Taxonomy</a:t>
            </a:r>
          </a:p>
          <a:p>
            <a:pPr marL="0" indent="0">
              <a:lnSpc>
                <a:spcPct val="90000"/>
              </a:lnSpc>
              <a:spcBef>
                <a:spcPts val="2400"/>
              </a:spcBef>
              <a:buNone/>
            </a:pPr>
            <a:r>
              <a:rPr lang="en-US" sz="2400" dirty="0">
                <a:solidFill>
                  <a:schemeClr val="accent1"/>
                </a:solidFill>
                <a:latin typeface="Calibri" panose="020F0502020204030204" pitchFamily="34" charset="0"/>
              </a:rPr>
              <a:t>Goals</a:t>
            </a:r>
          </a:p>
          <a:p>
            <a:pPr>
              <a:lnSpc>
                <a:spcPct val="90000"/>
              </a:lnSpc>
              <a:spcBef>
                <a:spcPts val="600"/>
              </a:spcBef>
            </a:pPr>
            <a:r>
              <a:rPr lang="en-US" sz="1800" dirty="0">
                <a:latin typeface="Calibri" panose="020F0502020204030204" pitchFamily="34" charset="0"/>
              </a:rPr>
              <a:t>Encourage TBM practitioner input through TBM Connect</a:t>
            </a:r>
          </a:p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800" dirty="0">
                <a:latin typeface="Calibri" panose="020F0502020204030204" pitchFamily="34" charset="0"/>
              </a:rPr>
              <a:t>Collect and review TBM Taxonomy feedback on a regular basis</a:t>
            </a:r>
          </a:p>
          <a:p>
            <a:pPr>
              <a:lnSpc>
                <a:spcPct val="90000"/>
              </a:lnSpc>
              <a:spcBef>
                <a:spcPts val="1200"/>
              </a:spcBef>
            </a:pPr>
            <a:r>
              <a:rPr lang="en-US" sz="1800" dirty="0">
                <a:latin typeface="Calibri" panose="020F0502020204030204" pitchFamily="34" charset="0"/>
              </a:rPr>
              <a:t>Recommend changes to the TBMC Standard Committee and TBMC Board for approval</a:t>
            </a:r>
          </a:p>
          <a:p>
            <a:pPr>
              <a:lnSpc>
                <a:spcPct val="90000"/>
              </a:lnSpc>
              <a:spcBef>
                <a:spcPts val="1200"/>
              </a:spcBef>
            </a:pPr>
            <a:endParaRPr lang="en-US" sz="1100" dirty="0">
              <a:latin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xonomy Evolution Sub-Committee Purpos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>
                <a:latin typeface="Calibri" panose="020F0502020204030204" pitchFamily="34" charset="0"/>
              </a:rPr>
              <a:t>Purpose</a:t>
            </a:r>
            <a:endParaRPr lang="en-US" sz="1800" i="1" dirty="0">
              <a:latin typeface="Calibri" panose="020F0502020204030204" pitchFamily="34" charset="0"/>
            </a:endParaRP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267236" y="714053"/>
            <a:ext cx="2308354" cy="4089115"/>
          </a:xfrm>
          <a:solidFill>
            <a:schemeClr val="bg1"/>
          </a:solidFill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137160" tIns="182880" rIns="91440" bIns="91440" anchor="ctr" anchorCtr="0">
            <a:normAutofit/>
          </a:bodyPr>
          <a:lstStyle/>
          <a:p>
            <a:pPr>
              <a:spcBef>
                <a:spcPts val="800"/>
              </a:spcBef>
            </a:pP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Members</a:t>
            </a:r>
          </a:p>
          <a:p>
            <a:pPr marL="231775" indent="-231775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Michel Brassart, DXC</a:t>
            </a:r>
          </a:p>
          <a:p>
            <a:pPr marL="231775" indent="-231775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Anthony Agent,  Marriott</a:t>
            </a:r>
          </a:p>
          <a:p>
            <a:pPr marL="231775" indent="-231775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Brian Wolk, COX Automotive</a:t>
            </a:r>
          </a:p>
          <a:p>
            <a:pPr marL="231775" indent="-231775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Eric Merkle, MetLife</a:t>
            </a:r>
          </a:p>
          <a:p>
            <a:pPr marL="231775" indent="-231775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Kathy Rudy, ISG</a:t>
            </a:r>
          </a:p>
          <a:p>
            <a:pPr marL="231775" indent="-231775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Patrick Mulcare, GSA</a:t>
            </a:r>
          </a:p>
          <a:p>
            <a:pPr marL="231775" indent="-231775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Qi Chen, Fannie Mae</a:t>
            </a:r>
          </a:p>
          <a:p>
            <a:pPr marL="231775" indent="-231775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chemeClr val="tx1">
                    <a:lumMod val="90000"/>
                    <a:lumOff val="10000"/>
                  </a:schemeClr>
                </a:solidFill>
              </a:rPr>
              <a:t>Ed Hayman, Apptio</a:t>
            </a:r>
          </a:p>
          <a:p>
            <a:pPr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tx1">
                  <a:lumMod val="90000"/>
                  <a:lumOff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2192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p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axonomy Evolution Focus for 2019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1800"/>
              </a:spcBef>
            </a:pPr>
            <a:r>
              <a:rPr lang="en-US" dirty="0"/>
              <a:t>Define specific </a:t>
            </a:r>
            <a:r>
              <a:rPr lang="en-US" dirty="0">
                <a:solidFill>
                  <a:schemeClr val="accent1"/>
                </a:solidFill>
              </a:rPr>
              <a:t>TBM Metrics </a:t>
            </a:r>
            <a:r>
              <a:rPr lang="en-US" dirty="0"/>
              <a:t>beyond “</a:t>
            </a:r>
            <a:r>
              <a:rPr lang="en-US" i="1" dirty="0"/>
              <a:t>CIO Top 10</a:t>
            </a:r>
            <a:r>
              <a:rPr lang="en-US" dirty="0"/>
              <a:t>”</a:t>
            </a:r>
          </a:p>
          <a:p>
            <a:pPr>
              <a:spcBef>
                <a:spcPts val="2400"/>
              </a:spcBef>
            </a:pPr>
            <a:r>
              <a:rPr lang="en-US" dirty="0"/>
              <a:t>Support workgroups developing Business Services for </a:t>
            </a:r>
            <a:r>
              <a:rPr lang="en-US" dirty="0">
                <a:solidFill>
                  <a:schemeClr val="accent1"/>
                </a:solidFill>
              </a:rPr>
              <a:t>verticals</a:t>
            </a:r>
          </a:p>
          <a:p>
            <a:pPr>
              <a:spcBef>
                <a:spcPts val="2400"/>
              </a:spcBef>
            </a:pPr>
            <a:r>
              <a:rPr lang="en-US" dirty="0"/>
              <a:t>Monitor </a:t>
            </a:r>
            <a:r>
              <a:rPr lang="en-US" dirty="0">
                <a:solidFill>
                  <a:schemeClr val="accent1"/>
                </a:solidFill>
              </a:rPr>
              <a:t>feedback</a:t>
            </a:r>
            <a:r>
              <a:rPr lang="en-US" dirty="0"/>
              <a:t> of published TBM Taxonomy</a:t>
            </a:r>
          </a:p>
          <a:p>
            <a:pPr lvl="1"/>
            <a:r>
              <a:rPr lang="en-US" dirty="0"/>
              <a:t>No planned updates to cost pools; IT towers; infrastructure, platform, delivery, end user or shared services</a:t>
            </a:r>
          </a:p>
          <a:p>
            <a:pPr>
              <a:spcBef>
                <a:spcPts val="180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7334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eedback on TBM Metr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57202" y="914400"/>
            <a:ext cx="7222731" cy="3714750"/>
          </a:xfrm>
        </p:spPr>
        <p:txBody>
          <a:bodyPr>
            <a:noAutofit/>
          </a:bodyPr>
          <a:lstStyle/>
          <a:p>
            <a:pPr>
              <a:spcBef>
                <a:spcPts val="1800"/>
              </a:spcBef>
            </a:pPr>
            <a:r>
              <a:rPr lang="en-US" sz="2000" dirty="0" smtClean="0"/>
              <a:t>Right </a:t>
            </a:r>
            <a:r>
              <a:rPr lang="en-US" sz="2000" dirty="0"/>
              <a:t>approach and deliverables?</a:t>
            </a:r>
          </a:p>
          <a:p>
            <a:pPr>
              <a:spcBef>
                <a:spcPts val="1800"/>
              </a:spcBef>
            </a:pPr>
            <a:r>
              <a:rPr lang="en-US" sz="2000" dirty="0"/>
              <a:t>Right IT goals?  </a:t>
            </a:r>
            <a:r>
              <a:rPr lang="en-US" sz="2000" dirty="0" smtClean="0"/>
              <a:t>Feedback </a:t>
            </a:r>
            <a:r>
              <a:rPr lang="en-US" sz="2000" dirty="0"/>
              <a:t>on the definitions?</a:t>
            </a:r>
          </a:p>
          <a:p>
            <a:pPr>
              <a:spcBef>
                <a:spcPts val="1800"/>
              </a:spcBef>
            </a:pPr>
            <a:r>
              <a:rPr lang="en-US" sz="2000" dirty="0"/>
              <a:t>Right metrics?  What is missing</a:t>
            </a:r>
            <a:r>
              <a:rPr lang="en-US" sz="2000" dirty="0" smtClean="0"/>
              <a:t>?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318013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tailed Spreadsheet of Metric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5521" y="1047965"/>
            <a:ext cx="6627039" cy="3278314"/>
          </a:xfrm>
          <a:prstGeom prst="rect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extBox 3"/>
          <p:cNvSpPr txBox="1"/>
          <p:nvPr/>
        </p:nvSpPr>
        <p:spPr>
          <a:xfrm flipH="1">
            <a:off x="239230" y="2070672"/>
            <a:ext cx="1847478" cy="1061829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D96C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27 Metric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8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D96C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3 Columns </a:t>
            </a:r>
          </a:p>
        </p:txBody>
      </p:sp>
      <p:sp>
        <p:nvSpPr>
          <p:cNvPr id="5" name="TextBox 4"/>
          <p:cNvSpPr txBox="1"/>
          <p:nvPr/>
        </p:nvSpPr>
        <p:spPr>
          <a:xfrm flipH="1">
            <a:off x="239230" y="3287209"/>
            <a:ext cx="1847478" cy="461665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9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omplex!</a:t>
            </a:r>
          </a:p>
        </p:txBody>
      </p:sp>
    </p:spTree>
    <p:extLst>
      <p:ext uri="{BB962C8B-B14F-4D97-AF65-F5344CB8AC3E}">
        <p14:creationId xmlns:p14="http://schemas.microsoft.com/office/powerpoint/2010/main" val="26661638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pproach &amp; Deliverab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marL="0" indent="0">
              <a:spcBef>
                <a:spcPts val="1800"/>
              </a:spcBef>
              <a:buNone/>
            </a:pPr>
            <a:r>
              <a:rPr lang="en-US" b="1" dirty="0">
                <a:solidFill>
                  <a:schemeClr val="accent1"/>
                </a:solidFill>
              </a:rPr>
              <a:t>Approach</a:t>
            </a:r>
            <a:r>
              <a:rPr lang="en-US" dirty="0"/>
              <a:t>:  Identify metrics to enable key IT goals</a:t>
            </a:r>
          </a:p>
          <a:p>
            <a:pPr marL="0" indent="0">
              <a:spcBef>
                <a:spcPts val="2400"/>
              </a:spcBef>
              <a:buNone/>
            </a:pPr>
            <a:r>
              <a:rPr lang="en-US" b="1" dirty="0">
                <a:solidFill>
                  <a:schemeClr val="accent1"/>
                </a:solidFill>
              </a:rPr>
              <a:t>Deliverables</a:t>
            </a:r>
          </a:p>
          <a:p>
            <a:pPr>
              <a:spcBef>
                <a:spcPts val="900"/>
              </a:spcBef>
            </a:pPr>
            <a:r>
              <a:rPr lang="en-US" dirty="0"/>
              <a:t>Business Goals enabled by IT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Define standard list</a:t>
            </a:r>
          </a:p>
          <a:p>
            <a:pPr>
              <a:spcBef>
                <a:spcPts val="1500"/>
              </a:spcBef>
            </a:pPr>
            <a:r>
              <a:rPr lang="en-US" dirty="0"/>
              <a:t>Recommended TBM Metrics per Goal</a:t>
            </a:r>
          </a:p>
          <a:p>
            <a:pPr lvl="1">
              <a:spcBef>
                <a:spcPts val="600"/>
              </a:spcBef>
            </a:pPr>
            <a:r>
              <a:rPr lang="en-US" dirty="0"/>
              <a:t>Identify top 5-7</a:t>
            </a:r>
          </a:p>
          <a:p>
            <a:pPr>
              <a:spcBef>
                <a:spcPts val="1500"/>
              </a:spcBef>
            </a:pPr>
            <a:r>
              <a:rPr lang="en-US" dirty="0"/>
              <a:t>Standard Metric Definition</a:t>
            </a:r>
          </a:p>
          <a:p>
            <a:pPr lvl="1">
              <a:spcBef>
                <a:spcPts val="900"/>
              </a:spcBef>
            </a:pPr>
            <a:r>
              <a:rPr lang="en-US" dirty="0"/>
              <a:t>Comprehensive definition of the metric (who, what, why, how)</a:t>
            </a:r>
          </a:p>
        </p:txBody>
      </p:sp>
    </p:spTree>
    <p:extLst>
      <p:ext uri="{BB962C8B-B14F-4D97-AF65-F5344CB8AC3E}">
        <p14:creationId xmlns:p14="http://schemas.microsoft.com/office/powerpoint/2010/main" val="862635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ve Business Goals Enabled by IT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47265950"/>
              </p:ext>
            </p:extLst>
          </p:nvPr>
        </p:nvGraphicFramePr>
        <p:xfrm>
          <a:off x="457200" y="914401"/>
          <a:ext cx="8229600" cy="3894512"/>
        </p:xfrm>
        <a:graphic>
          <a:graphicData uri="http://schemas.openxmlformats.org/drawingml/2006/table">
            <a:tbl>
              <a:tblPr firstRow="1" bandRow="1">
                <a:tableStyleId>{B482DE17-1FC4-41D7-B2E8-05BAB7828703}</a:tableStyleId>
              </a:tblPr>
              <a:tblGrid>
                <a:gridCol w="2352782">
                  <a:extLst>
                    <a:ext uri="{9D8B030D-6E8A-4147-A177-3AD203B41FA5}">
                      <a16:colId xmlns:a16="http://schemas.microsoft.com/office/drawing/2014/main" val="849482561"/>
                    </a:ext>
                  </a:extLst>
                </a:gridCol>
                <a:gridCol w="5876818">
                  <a:extLst>
                    <a:ext uri="{9D8B030D-6E8A-4147-A177-3AD203B41FA5}">
                      <a16:colId xmlns:a16="http://schemas.microsoft.com/office/drawing/2014/main" val="50541036"/>
                    </a:ext>
                  </a:extLst>
                </a:gridCol>
              </a:tblGrid>
              <a:tr h="37534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oal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finition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80971597"/>
                  </a:ext>
                </a:extLst>
              </a:tr>
              <a:tr h="83556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 </a:t>
                      </a:r>
                      <a:r>
                        <a:rPr lang="en-US" sz="1600" b="1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novation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or increase revenue)</a:t>
                      </a:r>
                      <a:endParaRPr lang="en-US" sz="1600" b="0" i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liver new emerging technologies or apply existing technology to enable new / enhanced capabilities that impact the business and drive differentiation, revenue and growth in the market.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2952182835"/>
                  </a:ext>
                </a:extLst>
              </a:tr>
              <a:tr h="65613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 Efficiency </a:t>
                      </a:r>
                      <a:endParaRPr lang="en-US" sz="1600" b="1" dirty="0" smtClean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i="1" dirty="0" smtClean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(or increase profitability)</a:t>
                      </a:r>
                      <a:endParaRPr lang="en-US" sz="1600" b="0" i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 efficiency in infrastructure (maximize utilization), employee (increase # units/employee), initiative, and cost perspectives to drive better profitability.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4044318915"/>
                  </a:ext>
                </a:extLst>
              </a:tr>
              <a:tr h="854237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 Customer Satisfaction</a:t>
                      </a:r>
                      <a:endParaRPr lang="en-US" sz="16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rive internal and external customer satisfaction with IT products. It can be extended to IT’s contribution to overall company satisfaction often captured through net promoter (NPS) scores.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1470510803"/>
                  </a:ext>
                </a:extLst>
              </a:tr>
              <a:tr h="58661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crease Speed to Market</a:t>
                      </a:r>
                      <a:endParaRPr lang="en-US" sz="16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lternatively called “agility.” Measures how quickly an organization can deliver new features and/or functionality in existing or new products to its end users.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849905569"/>
                  </a:ext>
                </a:extLst>
              </a:tr>
              <a:tr h="58661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nage Risk</a:t>
                      </a:r>
                      <a:endParaRPr lang="en-US" sz="16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bility to measure and mitigate myriad types of risk; financial, sourcing, initiative, market, security, etc.</a:t>
                      </a:r>
                      <a:endParaRPr lang="en-US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/>
                </a:tc>
                <a:extLst>
                  <a:ext uri="{0D108BD9-81ED-4DB2-BD59-A6C34878D82A}">
                    <a16:rowId xmlns:a16="http://schemas.microsoft.com/office/drawing/2014/main" val="208915403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394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 </a:t>
            </a:r>
            <a:r>
              <a:rPr lang="en-US" dirty="0" smtClean="0"/>
              <a:t>Innovatio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1800"/>
              </a:spcBef>
            </a:pPr>
            <a:r>
              <a:rPr lang="en-US" dirty="0"/>
              <a:t>% of IT spend on </a:t>
            </a:r>
            <a:r>
              <a:rPr lang="en-US" dirty="0">
                <a:solidFill>
                  <a:schemeClr val="accent1"/>
                </a:solidFill>
              </a:rPr>
              <a:t>Run/Grow/Transform</a:t>
            </a:r>
          </a:p>
          <a:p>
            <a:pPr>
              <a:spcBef>
                <a:spcPts val="1800"/>
              </a:spcBef>
            </a:pPr>
            <a:r>
              <a:rPr lang="en-US" dirty="0"/>
              <a:t>% of IT spend on </a:t>
            </a:r>
            <a:r>
              <a:rPr lang="en-US" dirty="0">
                <a:solidFill>
                  <a:schemeClr val="accent1"/>
                </a:solidFill>
              </a:rPr>
              <a:t>R&amp;D/emerging technologies</a:t>
            </a:r>
          </a:p>
          <a:p>
            <a:pPr>
              <a:spcBef>
                <a:spcPts val="1800"/>
              </a:spcBef>
            </a:pPr>
            <a:r>
              <a:rPr lang="en-US" dirty="0"/>
              <a:t>% of IT spend on new </a:t>
            </a:r>
            <a:r>
              <a:rPr lang="en-US" dirty="0">
                <a:solidFill>
                  <a:schemeClr val="accent1"/>
                </a:solidFill>
              </a:rPr>
              <a:t>customer-facing</a:t>
            </a:r>
            <a:r>
              <a:rPr lang="en-US" dirty="0"/>
              <a:t> technology</a:t>
            </a:r>
          </a:p>
          <a:p>
            <a:pPr>
              <a:spcBef>
                <a:spcPts val="1800"/>
              </a:spcBef>
            </a:pPr>
            <a:r>
              <a:rPr lang="en-US" dirty="0" smtClean="0"/>
              <a:t>% </a:t>
            </a:r>
            <a:r>
              <a:rPr lang="en-US" dirty="0"/>
              <a:t>of IT spend on </a:t>
            </a:r>
            <a:r>
              <a:rPr lang="en-US" dirty="0">
                <a:solidFill>
                  <a:schemeClr val="accent1"/>
                </a:solidFill>
              </a:rPr>
              <a:t>business differentiating </a:t>
            </a:r>
            <a:r>
              <a:rPr lang="en-US" dirty="0" smtClean="0"/>
              <a:t>capabilit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4692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crease </a:t>
            </a:r>
            <a:r>
              <a:rPr lang="en-US" dirty="0" smtClean="0"/>
              <a:t>Efficiency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>
              <a:spcBef>
                <a:spcPts val="1200"/>
              </a:spcBef>
            </a:pPr>
            <a:r>
              <a:rPr lang="en-US" dirty="0"/>
              <a:t>IT spend as </a:t>
            </a:r>
            <a:r>
              <a:rPr lang="en-US" dirty="0">
                <a:solidFill>
                  <a:schemeClr val="accent1"/>
                </a:solidFill>
              </a:rPr>
              <a:t>% of revenue</a:t>
            </a:r>
          </a:p>
          <a:p>
            <a:pPr>
              <a:spcBef>
                <a:spcPts val="1200"/>
              </a:spcBef>
            </a:pPr>
            <a:r>
              <a:rPr lang="en-US" dirty="0"/>
              <a:t>IT spend </a:t>
            </a:r>
            <a:r>
              <a:rPr lang="en-US" dirty="0">
                <a:solidFill>
                  <a:schemeClr val="accent1"/>
                </a:solidFill>
              </a:rPr>
              <a:t>per user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% </a:t>
            </a:r>
            <a:r>
              <a:rPr lang="en-US" dirty="0"/>
              <a:t>of business processes </a:t>
            </a:r>
            <a:r>
              <a:rPr lang="en-US" dirty="0" smtClean="0"/>
              <a:t>with </a:t>
            </a:r>
            <a:r>
              <a:rPr lang="en-US" dirty="0">
                <a:solidFill>
                  <a:schemeClr val="accent1"/>
                </a:solidFill>
              </a:rPr>
              <a:t>straight through processing</a:t>
            </a:r>
          </a:p>
          <a:p>
            <a:pPr>
              <a:spcBef>
                <a:spcPts val="1200"/>
              </a:spcBef>
            </a:pPr>
            <a:r>
              <a:rPr lang="en-US" dirty="0"/>
              <a:t>% of </a:t>
            </a:r>
            <a:r>
              <a:rPr lang="en-US" dirty="0" smtClean="0"/>
              <a:t>services </a:t>
            </a:r>
            <a:r>
              <a:rPr lang="en-US" dirty="0"/>
              <a:t>achieving </a:t>
            </a:r>
            <a:r>
              <a:rPr lang="en-US" dirty="0">
                <a:solidFill>
                  <a:schemeClr val="accent1"/>
                </a:solidFill>
              </a:rPr>
              <a:t>unit cost targets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% </a:t>
            </a:r>
            <a:r>
              <a:rPr lang="en-US" dirty="0"/>
              <a:t>of IT service requests resolved through </a:t>
            </a:r>
            <a:r>
              <a:rPr lang="en-US" dirty="0">
                <a:solidFill>
                  <a:schemeClr val="accent1"/>
                </a:solidFill>
              </a:rPr>
              <a:t>self service tools</a:t>
            </a:r>
          </a:p>
          <a:p>
            <a:pPr>
              <a:spcBef>
                <a:spcPts val="1200"/>
              </a:spcBef>
            </a:pPr>
            <a:r>
              <a:rPr lang="en-US" dirty="0" smtClean="0"/>
              <a:t>% </a:t>
            </a:r>
            <a:r>
              <a:rPr lang="en-US" dirty="0"/>
              <a:t>of user incidents </a:t>
            </a:r>
            <a:r>
              <a:rPr lang="en-US" dirty="0">
                <a:solidFill>
                  <a:schemeClr val="accent1"/>
                </a:solidFill>
              </a:rPr>
              <a:t>resolved on first contact</a:t>
            </a:r>
          </a:p>
        </p:txBody>
      </p:sp>
    </p:spTree>
    <p:extLst>
      <p:ext uri="{BB962C8B-B14F-4D97-AF65-F5344CB8AC3E}">
        <p14:creationId xmlns:p14="http://schemas.microsoft.com/office/powerpoint/2010/main" val="109303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Apptio PowerPoint Calibri">
  <a:themeElements>
    <a:clrScheme name="TBM Council">
      <a:dk1>
        <a:srgbClr val="1E1F21"/>
      </a:dk1>
      <a:lt1>
        <a:srgbClr val="FFFFFF"/>
      </a:lt1>
      <a:dk2>
        <a:srgbClr val="22424E"/>
      </a:dk2>
      <a:lt2>
        <a:srgbClr val="DEDDDD"/>
      </a:lt2>
      <a:accent1>
        <a:srgbClr val="0D96C9"/>
      </a:accent1>
      <a:accent2>
        <a:srgbClr val="7E848B"/>
      </a:accent2>
      <a:accent3>
        <a:srgbClr val="F89838"/>
      </a:accent3>
      <a:accent4>
        <a:srgbClr val="F26724"/>
      </a:accent4>
      <a:accent5>
        <a:srgbClr val="9CDDF8"/>
      </a:accent5>
      <a:accent6>
        <a:srgbClr val="7DBA41"/>
      </a:accent6>
      <a:hlink>
        <a:srgbClr val="0D96C9"/>
      </a:hlink>
      <a:folHlink>
        <a:srgbClr val="4354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BM Council PPT Template.potx [Read-Only]" id="{E5EE94F0-14A3-4E4B-BDD4-26B914295DE1}" vid="{D847FC54-354E-4BDB-A285-0E740A9F49F9}"/>
    </a:ext>
  </a:extLst>
</a:theme>
</file>

<file path=ppt/theme/theme10.xml><?xml version="1.0" encoding="utf-8"?>
<a:theme xmlns:a="http://schemas.openxmlformats.org/drawingml/2006/main" name="1_TBM Council">
  <a:themeElements>
    <a:clrScheme name="TBM Council">
      <a:dk1>
        <a:srgbClr val="1E1F21"/>
      </a:dk1>
      <a:lt1>
        <a:srgbClr val="FFFFFF"/>
      </a:lt1>
      <a:dk2>
        <a:srgbClr val="22424E"/>
      </a:dk2>
      <a:lt2>
        <a:srgbClr val="DEDDDD"/>
      </a:lt2>
      <a:accent1>
        <a:srgbClr val="0D96C9"/>
      </a:accent1>
      <a:accent2>
        <a:srgbClr val="7E848B"/>
      </a:accent2>
      <a:accent3>
        <a:srgbClr val="F89838"/>
      </a:accent3>
      <a:accent4>
        <a:srgbClr val="F26724"/>
      </a:accent4>
      <a:accent5>
        <a:srgbClr val="9CDDF8"/>
      </a:accent5>
      <a:accent6>
        <a:srgbClr val="7DBA41"/>
      </a:accent6>
      <a:hlink>
        <a:srgbClr val="0D96C9"/>
      </a:hlink>
      <a:folHlink>
        <a:srgbClr val="4354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BM Council PPT Template.potx [Read-Only]" id="{E5EE94F0-14A3-4E4B-BDD4-26B914295DE1}" vid="{D847FC54-354E-4BDB-A285-0E740A9F49F9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Sysco_CF_XSY018 v2">
  <a:themeElements>
    <a:clrScheme name="Current">
      <a:dk1>
        <a:srgbClr val="000000"/>
      </a:dk1>
      <a:lt1>
        <a:srgbClr val="FFFFFF"/>
      </a:lt1>
      <a:dk2>
        <a:srgbClr val="126FBD"/>
      </a:dk2>
      <a:lt2>
        <a:srgbClr val="EAEAEA"/>
      </a:lt2>
      <a:accent1>
        <a:srgbClr val="CCCCCC"/>
      </a:accent1>
      <a:accent2>
        <a:srgbClr val="70B740"/>
      </a:accent2>
      <a:accent3>
        <a:srgbClr val="0082C8"/>
      </a:accent3>
      <a:accent4>
        <a:srgbClr val="004C7E"/>
      </a:accent4>
      <a:accent5>
        <a:srgbClr val="FF6600"/>
      </a:accent5>
      <a:accent6>
        <a:srgbClr val="808080"/>
      </a:accent6>
      <a:hlink>
        <a:srgbClr val="0082C8"/>
      </a:hlink>
      <a:folHlink>
        <a:srgbClr val="004C7E"/>
      </a:folHlink>
    </a:clrScheme>
    <a:fontScheme name="Custom 199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126FBD"/>
        </a:dk2>
        <a:lt2>
          <a:srgbClr val="EAEAEA"/>
        </a:lt2>
        <a:accent1>
          <a:srgbClr val="CCCCCC"/>
        </a:accent1>
        <a:accent2>
          <a:srgbClr val="70B740"/>
        </a:accent2>
        <a:accent3>
          <a:srgbClr val="0082C8"/>
        </a:accent3>
        <a:accent4>
          <a:srgbClr val="004C7E"/>
        </a:accent4>
        <a:accent5>
          <a:srgbClr val="FF6600"/>
        </a:accent5>
        <a:accent6>
          <a:srgbClr val="808080"/>
        </a:accent6>
        <a:hlink>
          <a:srgbClr val="0082C8"/>
        </a:hlink>
        <a:folHlink>
          <a:srgbClr val="004C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6_Apptio PowerPoint Calibri">
  <a:themeElements>
    <a:clrScheme name="TBM Council">
      <a:dk1>
        <a:srgbClr val="1E1F21"/>
      </a:dk1>
      <a:lt1>
        <a:srgbClr val="FFFFFF"/>
      </a:lt1>
      <a:dk2>
        <a:srgbClr val="22424E"/>
      </a:dk2>
      <a:lt2>
        <a:srgbClr val="DEDDDD"/>
      </a:lt2>
      <a:accent1>
        <a:srgbClr val="0D96C9"/>
      </a:accent1>
      <a:accent2>
        <a:srgbClr val="7E848B"/>
      </a:accent2>
      <a:accent3>
        <a:srgbClr val="F89838"/>
      </a:accent3>
      <a:accent4>
        <a:srgbClr val="F26724"/>
      </a:accent4>
      <a:accent5>
        <a:srgbClr val="9CDDF8"/>
      </a:accent5>
      <a:accent6>
        <a:srgbClr val="7DBA41"/>
      </a:accent6>
      <a:hlink>
        <a:srgbClr val="0D96C9"/>
      </a:hlink>
      <a:folHlink>
        <a:srgbClr val="4354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BM Council PPT Template.potx [Read-Only]" id="{E5EE94F0-14A3-4E4B-BDD4-26B914295DE1}" vid="{D847FC54-354E-4BDB-A285-0E740A9F49F9}"/>
    </a:ext>
  </a:extLst>
</a:theme>
</file>

<file path=ppt/theme/theme4.xml><?xml version="1.0" encoding="utf-8"?>
<a:theme xmlns:a="http://schemas.openxmlformats.org/drawingml/2006/main" name="5_Apptio PowerPoint Calibri">
  <a:themeElements>
    <a:clrScheme name="Apptio PowerPoint">
      <a:dk1>
        <a:srgbClr val="353C45"/>
      </a:dk1>
      <a:lt1>
        <a:sysClr val="window" lastClr="FFFFFF"/>
      </a:lt1>
      <a:dk2>
        <a:srgbClr val="000000"/>
      </a:dk2>
      <a:lt2>
        <a:srgbClr val="D2D1D2"/>
      </a:lt2>
      <a:accent1>
        <a:srgbClr val="FF661C"/>
      </a:accent1>
      <a:accent2>
        <a:srgbClr val="7E848B"/>
      </a:accent2>
      <a:accent3>
        <a:srgbClr val="01ACC7"/>
      </a:accent3>
      <a:accent4>
        <a:srgbClr val="43B02A"/>
      </a:accent4>
      <a:accent5>
        <a:srgbClr val="DBE442"/>
      </a:accent5>
      <a:accent6>
        <a:srgbClr val="BE3A34"/>
      </a:accent6>
      <a:hlink>
        <a:srgbClr val="FF661C"/>
      </a:hlink>
      <a:folHlink>
        <a:srgbClr val="BE3A34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ptio Corporate PPT Template" id="{ECCE7FE6-98E4-465B-9E89-4A94EF9FA38C}" vid="{389555A3-49C1-45BF-9F4E-FA8E71D0075C}"/>
    </a:ext>
  </a:extLst>
</a:theme>
</file>

<file path=ppt/theme/theme5.xml><?xml version="1.0" encoding="utf-8"?>
<a:theme xmlns:a="http://schemas.openxmlformats.org/drawingml/2006/main" name="7_Apptio PowerPoint Calibri">
  <a:themeElements>
    <a:clrScheme name="Apptio PowerPoint">
      <a:dk1>
        <a:srgbClr val="353C45"/>
      </a:dk1>
      <a:lt1>
        <a:sysClr val="window" lastClr="FFFFFF"/>
      </a:lt1>
      <a:dk2>
        <a:srgbClr val="000000"/>
      </a:dk2>
      <a:lt2>
        <a:srgbClr val="D2D1D2"/>
      </a:lt2>
      <a:accent1>
        <a:srgbClr val="FF661C"/>
      </a:accent1>
      <a:accent2>
        <a:srgbClr val="7E848B"/>
      </a:accent2>
      <a:accent3>
        <a:srgbClr val="01ACC7"/>
      </a:accent3>
      <a:accent4>
        <a:srgbClr val="43B02A"/>
      </a:accent4>
      <a:accent5>
        <a:srgbClr val="DBE442"/>
      </a:accent5>
      <a:accent6>
        <a:srgbClr val="BE3A34"/>
      </a:accent6>
      <a:hlink>
        <a:srgbClr val="FF661C"/>
      </a:hlink>
      <a:folHlink>
        <a:srgbClr val="BE3A34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893D736A-321A-4D11-AD72-194063896A61}" vid="{A2689796-A517-4059-B582-1378077C0CFD}"/>
    </a:ext>
  </a:extLst>
</a:theme>
</file>

<file path=ppt/theme/theme6.xml><?xml version="1.0" encoding="utf-8"?>
<a:theme xmlns:a="http://schemas.openxmlformats.org/drawingml/2006/main" name="TBM Council">
  <a:themeElements>
    <a:clrScheme name="TBM Council">
      <a:dk1>
        <a:srgbClr val="1E1F21"/>
      </a:dk1>
      <a:lt1>
        <a:srgbClr val="FFFFFF"/>
      </a:lt1>
      <a:dk2>
        <a:srgbClr val="22424E"/>
      </a:dk2>
      <a:lt2>
        <a:srgbClr val="DEDDDD"/>
      </a:lt2>
      <a:accent1>
        <a:srgbClr val="0D96C9"/>
      </a:accent1>
      <a:accent2>
        <a:srgbClr val="7E848B"/>
      </a:accent2>
      <a:accent3>
        <a:srgbClr val="F89838"/>
      </a:accent3>
      <a:accent4>
        <a:srgbClr val="F26724"/>
      </a:accent4>
      <a:accent5>
        <a:srgbClr val="9CDDF8"/>
      </a:accent5>
      <a:accent6>
        <a:srgbClr val="7DBA41"/>
      </a:accent6>
      <a:hlink>
        <a:srgbClr val="0D96C9"/>
      </a:hlink>
      <a:folHlink>
        <a:srgbClr val="4354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BM Council PPT Template.potx [Read-Only]" id="{E5EE94F0-14A3-4E4B-BDD4-26B914295DE1}" vid="{D847FC54-354E-4BDB-A285-0E740A9F49F9}"/>
    </a:ext>
  </a:extLst>
</a:theme>
</file>

<file path=ppt/theme/theme7.xml><?xml version="1.0" encoding="utf-8"?>
<a:theme xmlns:a="http://schemas.openxmlformats.org/drawingml/2006/main" name="10_Apptio PowerPoint Calibri">
  <a:themeElements>
    <a:clrScheme name="Apptio PowerPoint">
      <a:dk1>
        <a:srgbClr val="353C45"/>
      </a:dk1>
      <a:lt1>
        <a:sysClr val="window" lastClr="FFFFFF"/>
      </a:lt1>
      <a:dk2>
        <a:srgbClr val="000000"/>
      </a:dk2>
      <a:lt2>
        <a:srgbClr val="D2D1D2"/>
      </a:lt2>
      <a:accent1>
        <a:srgbClr val="FF661C"/>
      </a:accent1>
      <a:accent2>
        <a:srgbClr val="7E848B"/>
      </a:accent2>
      <a:accent3>
        <a:srgbClr val="01ACC7"/>
      </a:accent3>
      <a:accent4>
        <a:srgbClr val="43B02A"/>
      </a:accent4>
      <a:accent5>
        <a:srgbClr val="DBE442"/>
      </a:accent5>
      <a:accent6>
        <a:srgbClr val="BE3A34"/>
      </a:accent6>
      <a:hlink>
        <a:srgbClr val="FF661C"/>
      </a:hlink>
      <a:folHlink>
        <a:srgbClr val="BE3A34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Apptio Corporate PPT Template.potx" id="{33931F1C-8740-45BB-9566-5BBA614D348B}" vid="{831C3B44-95DD-4F02-9094-9218A59476CA}"/>
    </a:ext>
  </a:extLst>
</a:theme>
</file>

<file path=ppt/theme/theme8.xml><?xml version="1.0" encoding="utf-8"?>
<a:theme xmlns:a="http://schemas.openxmlformats.org/drawingml/2006/main" name="1_Apptio PowerPoint Calibri">
  <a:themeElements>
    <a:clrScheme name="TBM Council">
      <a:dk1>
        <a:srgbClr val="1E1F21"/>
      </a:dk1>
      <a:lt1>
        <a:srgbClr val="FFFFFF"/>
      </a:lt1>
      <a:dk2>
        <a:srgbClr val="22424E"/>
      </a:dk2>
      <a:lt2>
        <a:srgbClr val="DEDDDD"/>
      </a:lt2>
      <a:accent1>
        <a:srgbClr val="0D96C9"/>
      </a:accent1>
      <a:accent2>
        <a:srgbClr val="7E848B"/>
      </a:accent2>
      <a:accent3>
        <a:srgbClr val="F89838"/>
      </a:accent3>
      <a:accent4>
        <a:srgbClr val="F26724"/>
      </a:accent4>
      <a:accent5>
        <a:srgbClr val="9CDDF8"/>
      </a:accent5>
      <a:accent6>
        <a:srgbClr val="7DBA41"/>
      </a:accent6>
      <a:hlink>
        <a:srgbClr val="0D96C9"/>
      </a:hlink>
      <a:folHlink>
        <a:srgbClr val="43546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BM Council PPT Template.potx" id="{5F5B9BB2-5C16-4CA1-BF48-BE7F6DD48FFC}" vid="{294F27EC-F40D-4422-949A-24FA716C1253}"/>
    </a:ext>
  </a:extLst>
</a:theme>
</file>

<file path=ppt/theme/theme9.xml><?xml version="1.0" encoding="utf-8"?>
<a:theme xmlns:a="http://schemas.openxmlformats.org/drawingml/2006/main" name="2_Apptio PowerPoint Calibri">
  <a:themeElements>
    <a:clrScheme name="Custom 9">
      <a:dk1>
        <a:srgbClr val="0A263C"/>
      </a:dk1>
      <a:lt1>
        <a:srgbClr val="FFFFFF"/>
      </a:lt1>
      <a:dk2>
        <a:srgbClr val="333333"/>
      </a:dk2>
      <a:lt2>
        <a:srgbClr val="DEDDDD"/>
      </a:lt2>
      <a:accent1>
        <a:srgbClr val="005EA3"/>
      </a:accent1>
      <a:accent2>
        <a:srgbClr val="777777"/>
      </a:accent2>
      <a:accent3>
        <a:srgbClr val="DF9830"/>
      </a:accent3>
      <a:accent4>
        <a:srgbClr val="F06624"/>
      </a:accent4>
      <a:accent5>
        <a:srgbClr val="00A7E8"/>
      </a:accent5>
      <a:accent6>
        <a:srgbClr val="007465"/>
      </a:accent6>
      <a:hlink>
        <a:srgbClr val="00A7E8"/>
      </a:hlink>
      <a:folHlink>
        <a:srgbClr val="005EA4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</a:spPr>
      <a:bodyPr wrap="square" rtlCol="0" anchor="ctr">
        <a:noAutofit/>
      </a:bodyPr>
      <a:lstStyle>
        <a:defPPr algn="ctr"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>
        <a:ln w="12700">
          <a:solidFill>
            <a:schemeClr val="tx1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BM Council PPT Template.potx [Autosaved]" id="{8E95F985-006D-4940-8D00-C78378473A1C}" vid="{ABFCB030-3378-469D-A366-6027CF808EA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2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0.xml"/></Relationships>
</file>

<file path=customXml/_rels/item2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1.xml"/></Relationships>
</file>

<file path=customXml/_rels/item2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2.xml"/></Relationships>
</file>

<file path=customXml/_rels/item2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3.xml"/></Relationships>
</file>

<file path=customXml/_rels/item2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4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athena xmlns="http://schemas.microsoft.com/edu/athena" version="0.1.3082.0">
  <timings duration="303516"/>
</athena>
</file>

<file path=customXml/item10.xml><?xml version="1.0" encoding="utf-8"?>
<athena xmlns="http://schemas.microsoft.com/edu/athena" version="0.1.3082.0">
  <timings duration="303516"/>
</athena>
</file>

<file path=customXml/item11.xml><?xml version="1.0" encoding="utf-8"?>
<athena xmlns="http://schemas.microsoft.com/edu/athena" version="0.1.3082.0">
  <timings duration="303516"/>
</athena>
</file>

<file path=customXml/item12.xml><?xml version="1.0" encoding="utf-8"?>
<athena xmlns="http://schemas.microsoft.com/edu/athena" version="0.1.3082.0">
  <timings duration="303516"/>
</athena>
</file>

<file path=customXml/item1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6BFE2F21F4B8498318C15CC5B787C7" ma:contentTypeVersion="12" ma:contentTypeDescription="Create a new document." ma:contentTypeScope="" ma:versionID="066ad99d0fbc6dabd250e8b086d67092">
  <xsd:schema xmlns:xsd="http://www.w3.org/2001/XMLSchema" xmlns:xs="http://www.w3.org/2001/XMLSchema" xmlns:p="http://schemas.microsoft.com/office/2006/metadata/properties" xmlns:ns2="f15c97d6-ef43-496e-a202-4bc8c889f290" xmlns:ns3="b132cc33-3ddb-4111-ac2e-9aa27a748848" targetNamespace="http://schemas.microsoft.com/office/2006/metadata/properties" ma:root="true" ma:fieldsID="ca34c5dbc8a095fc4649aa0f5f321763" ns2:_="" ns3:_="">
    <xsd:import namespace="f15c97d6-ef43-496e-a202-4bc8c889f290"/>
    <xsd:import namespace="b132cc33-3ddb-4111-ac2e-9aa27a74884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15c97d6-ef43-496e-a202-4bc8c889f2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32cc33-3ddb-4111-ac2e-9aa27a74884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4.xml><?xml version="1.0" encoding="utf-8"?>
<athena xmlns="http://schemas.microsoft.com/edu/athena" version="0.1.3082.0">
  <timings duration="303516"/>
</athena>
</file>

<file path=customXml/item15.xml><?xml version="1.0" encoding="utf-8"?>
<athena xmlns="http://schemas.microsoft.com/edu/athena" version="0.1.3082.0">
  <timings duration="303516"/>
</athena>
</file>

<file path=customXml/item16.xml><?xml version="1.0" encoding="utf-8"?>
<athena xmlns="http://schemas.microsoft.com/edu/athena" version="0.1.3082.0">
  <timings duration="303516"/>
</athena>
</file>

<file path=customXml/item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18.xml><?xml version="1.0" encoding="utf-8"?>
<athena xmlns="http://schemas.microsoft.com/edu/athena" version="0.1.3082.0">
  <timings duration="303516"/>
</athena>
</file>

<file path=customXml/item19.xml><?xml version="1.0" encoding="utf-8"?>
<athena xmlns="http://schemas.microsoft.com/edu/athena" version="0.1.3082.0">
  <timings duration="303516"/>
</athena>
</file>

<file path=customXml/item2.xml><?xml version="1.0" encoding="utf-8"?>
<athena xmlns="http://schemas.microsoft.com/edu/athena" version="0.1.3082.0">
  <timings duration="303516"/>
</athena>
</file>

<file path=customXml/item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.xml><?xml version="1.0" encoding="utf-8"?>
<athena xmlns="http://schemas.microsoft.com/edu/athena" version="0.1.3082.0">
  <timings duration="303516"/>
</athena>
</file>

<file path=customXml/item22.xml><?xml version="1.0" encoding="utf-8"?>
<athena xmlns="http://schemas.microsoft.com/edu/athena" version="0.1.3082.0">
  <timings duration="303516"/>
</athena>
</file>

<file path=customXml/item23.xml><?xml version="1.0" encoding="utf-8"?>
<athena xmlns="http://schemas.microsoft.com/edu/athena" version="0.1.3082.0">
  <timings duration="303516"/>
</athena>
</file>

<file path=customXml/item24.xml><?xml version="1.0" encoding="utf-8"?>
<athena xmlns="http://schemas.microsoft.com/edu/athena" version="0.1.3082.0">
  <timings duration="303516"/>
</athena>
</file>

<file path=customXml/item3.xml><?xml version="1.0" encoding="utf-8"?>
<athena xmlns="http://schemas.microsoft.com/edu/athena" version="0.1.3082.0">
  <timings duration="303516"/>
</athena>
</file>

<file path=customXml/item4.xml><?xml version="1.0" encoding="utf-8"?>
<athena xmlns="http://schemas.microsoft.com/edu/athena" version="0.1.3082.0">
  <timings duration="303516"/>
</athena>
</file>

<file path=customXml/item5.xml><?xml version="1.0" encoding="utf-8"?>
<athena xmlns="http://schemas.microsoft.com/edu/athena" version="0.1.3082.0">
  <timings duration="303516"/>
</athena>
</file>

<file path=customXml/item6.xml><?xml version="1.0" encoding="utf-8"?>
<athena xmlns="http://schemas.microsoft.com/edu/athena" version="0.1.3082.0">
  <timings duration="303516"/>
</athena>
</file>

<file path=customXml/item7.xml><?xml version="1.0" encoding="utf-8"?>
<athena xmlns="http://schemas.microsoft.com/edu/athena" version="0.1.3082.0">
  <timings duration="303516"/>
</athena>
</file>

<file path=customXml/item8.xml><?xml version="1.0" encoding="utf-8"?>
<athena xmlns="http://schemas.microsoft.com/edu/athena" version="0.1.3082.0">
  <timings duration="303516"/>
</athena>
</file>

<file path=customXml/item9.xml><?xml version="1.0" encoding="utf-8"?>
<athena xmlns="http://schemas.microsoft.com/edu/athena" version="0.1.3082.0">
  <timings duration="303516"/>
</athena>
</file>

<file path=customXml/itemProps1.xml><?xml version="1.0" encoding="utf-8"?>
<ds:datastoreItem xmlns:ds="http://schemas.openxmlformats.org/officeDocument/2006/customXml" ds:itemID="{44C9F941-25E7-49F9-8A26-AC4DBB6278E6}">
  <ds:schemaRefs>
    <ds:schemaRef ds:uri="http://schemas.microsoft.com/edu/athena"/>
  </ds:schemaRefs>
</ds:datastoreItem>
</file>

<file path=customXml/itemProps10.xml><?xml version="1.0" encoding="utf-8"?>
<ds:datastoreItem xmlns:ds="http://schemas.openxmlformats.org/officeDocument/2006/customXml" ds:itemID="{6D97EE17-9B3A-4642-9559-8ED082C23A6C}">
  <ds:schemaRefs>
    <ds:schemaRef ds:uri="http://schemas.microsoft.com/edu/athena"/>
  </ds:schemaRefs>
</ds:datastoreItem>
</file>

<file path=customXml/itemProps11.xml><?xml version="1.0" encoding="utf-8"?>
<ds:datastoreItem xmlns:ds="http://schemas.openxmlformats.org/officeDocument/2006/customXml" ds:itemID="{A3D0EC2F-2EE6-49D0-B26C-5275BACFE334}">
  <ds:schemaRefs>
    <ds:schemaRef ds:uri="http://schemas.microsoft.com/edu/athena"/>
  </ds:schemaRefs>
</ds:datastoreItem>
</file>

<file path=customXml/itemProps12.xml><?xml version="1.0" encoding="utf-8"?>
<ds:datastoreItem xmlns:ds="http://schemas.openxmlformats.org/officeDocument/2006/customXml" ds:itemID="{B60BCAB9-D282-493D-87F9-3C71B5F93E81}">
  <ds:schemaRefs>
    <ds:schemaRef ds:uri="http://schemas.microsoft.com/edu/athena"/>
  </ds:schemaRefs>
</ds:datastoreItem>
</file>

<file path=customXml/itemProps13.xml><?xml version="1.0" encoding="utf-8"?>
<ds:datastoreItem xmlns:ds="http://schemas.openxmlformats.org/officeDocument/2006/customXml" ds:itemID="{8866A672-450E-45EE-80A6-A39CFB477155}"/>
</file>

<file path=customXml/itemProps14.xml><?xml version="1.0" encoding="utf-8"?>
<ds:datastoreItem xmlns:ds="http://schemas.openxmlformats.org/officeDocument/2006/customXml" ds:itemID="{6FCC1DE8-BA38-4877-A5E8-CEAB5E0A48D5}">
  <ds:schemaRefs>
    <ds:schemaRef ds:uri="http://schemas.microsoft.com/edu/athena"/>
  </ds:schemaRefs>
</ds:datastoreItem>
</file>

<file path=customXml/itemProps15.xml><?xml version="1.0" encoding="utf-8"?>
<ds:datastoreItem xmlns:ds="http://schemas.openxmlformats.org/officeDocument/2006/customXml" ds:itemID="{17356276-53BE-41C0-8B68-976138D00135}">
  <ds:schemaRefs>
    <ds:schemaRef ds:uri="http://schemas.microsoft.com/edu/athena"/>
  </ds:schemaRefs>
</ds:datastoreItem>
</file>

<file path=customXml/itemProps16.xml><?xml version="1.0" encoding="utf-8"?>
<ds:datastoreItem xmlns:ds="http://schemas.openxmlformats.org/officeDocument/2006/customXml" ds:itemID="{4247809A-911F-447B-8518-CDBF65F9D11E}">
  <ds:schemaRefs>
    <ds:schemaRef ds:uri="http://schemas.microsoft.com/edu/athena"/>
  </ds:schemaRefs>
</ds:datastoreItem>
</file>

<file path=customXml/itemProps17.xml><?xml version="1.0" encoding="utf-8"?>
<ds:datastoreItem xmlns:ds="http://schemas.openxmlformats.org/officeDocument/2006/customXml" ds:itemID="{7F251212-D285-4887-9F6A-E55A42F54BCC}">
  <ds:schemaRefs>
    <ds:schemaRef ds:uri="http://purl.org/dc/elements/1.1/"/>
    <ds:schemaRef ds:uri="http://purl.org/dc/terms/"/>
    <ds:schemaRef ds:uri="85bbeb00-72b6-4695-8227-c984b273417b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18.xml><?xml version="1.0" encoding="utf-8"?>
<ds:datastoreItem xmlns:ds="http://schemas.openxmlformats.org/officeDocument/2006/customXml" ds:itemID="{BD363FD3-CFFB-4511-92D5-02444509410F}">
  <ds:schemaRefs>
    <ds:schemaRef ds:uri="http://schemas.microsoft.com/edu/athena"/>
  </ds:schemaRefs>
</ds:datastoreItem>
</file>

<file path=customXml/itemProps19.xml><?xml version="1.0" encoding="utf-8"?>
<ds:datastoreItem xmlns:ds="http://schemas.openxmlformats.org/officeDocument/2006/customXml" ds:itemID="{59241EBF-D1E3-4DED-9B0C-1F47D926F8C4}">
  <ds:schemaRefs>
    <ds:schemaRef ds:uri="http://schemas.microsoft.com/edu/athena"/>
  </ds:schemaRefs>
</ds:datastoreItem>
</file>

<file path=customXml/itemProps2.xml><?xml version="1.0" encoding="utf-8"?>
<ds:datastoreItem xmlns:ds="http://schemas.openxmlformats.org/officeDocument/2006/customXml" ds:itemID="{807FF4A8-E40D-431E-BACC-442CC4574667}">
  <ds:schemaRefs>
    <ds:schemaRef ds:uri="http://schemas.microsoft.com/edu/athena"/>
  </ds:schemaRefs>
</ds:datastoreItem>
</file>

<file path=customXml/itemProps20.xml><?xml version="1.0" encoding="utf-8"?>
<ds:datastoreItem xmlns:ds="http://schemas.openxmlformats.org/officeDocument/2006/customXml" ds:itemID="{B78D9B1C-BB70-400F-8FCB-FC774F905D46}">
  <ds:schemaRefs>
    <ds:schemaRef ds:uri="http://schemas.microsoft.com/sharepoint/v3/contenttype/forms"/>
  </ds:schemaRefs>
</ds:datastoreItem>
</file>

<file path=customXml/itemProps21.xml><?xml version="1.0" encoding="utf-8"?>
<ds:datastoreItem xmlns:ds="http://schemas.openxmlformats.org/officeDocument/2006/customXml" ds:itemID="{1BDD1FC7-EF9A-43A0-84A8-D3041E6ECC3C}">
  <ds:schemaRefs>
    <ds:schemaRef ds:uri="http://schemas.microsoft.com/edu/athena"/>
  </ds:schemaRefs>
</ds:datastoreItem>
</file>

<file path=customXml/itemProps22.xml><?xml version="1.0" encoding="utf-8"?>
<ds:datastoreItem xmlns:ds="http://schemas.openxmlformats.org/officeDocument/2006/customXml" ds:itemID="{212BC992-996C-474D-ADEC-BF3E68ADC521}">
  <ds:schemaRefs>
    <ds:schemaRef ds:uri="http://schemas.microsoft.com/edu/athena"/>
  </ds:schemaRefs>
</ds:datastoreItem>
</file>

<file path=customXml/itemProps23.xml><?xml version="1.0" encoding="utf-8"?>
<ds:datastoreItem xmlns:ds="http://schemas.openxmlformats.org/officeDocument/2006/customXml" ds:itemID="{EDDD658D-319F-4EF4-9334-3B7C51D3D893}">
  <ds:schemaRefs>
    <ds:schemaRef ds:uri="http://schemas.microsoft.com/edu/athena"/>
  </ds:schemaRefs>
</ds:datastoreItem>
</file>

<file path=customXml/itemProps24.xml><?xml version="1.0" encoding="utf-8"?>
<ds:datastoreItem xmlns:ds="http://schemas.openxmlformats.org/officeDocument/2006/customXml" ds:itemID="{D0B47768-CACE-434D-8B29-CA9FF0B9BADD}">
  <ds:schemaRefs>
    <ds:schemaRef ds:uri="http://schemas.microsoft.com/edu/athena"/>
  </ds:schemaRefs>
</ds:datastoreItem>
</file>

<file path=customXml/itemProps3.xml><?xml version="1.0" encoding="utf-8"?>
<ds:datastoreItem xmlns:ds="http://schemas.openxmlformats.org/officeDocument/2006/customXml" ds:itemID="{7DC88698-590F-42F6-9A28-C593B5788D61}">
  <ds:schemaRefs>
    <ds:schemaRef ds:uri="http://schemas.microsoft.com/edu/athena"/>
  </ds:schemaRefs>
</ds:datastoreItem>
</file>

<file path=customXml/itemProps4.xml><?xml version="1.0" encoding="utf-8"?>
<ds:datastoreItem xmlns:ds="http://schemas.openxmlformats.org/officeDocument/2006/customXml" ds:itemID="{32128CDC-0746-4893-A7BE-A9A16AE83E28}">
  <ds:schemaRefs>
    <ds:schemaRef ds:uri="http://schemas.microsoft.com/edu/athena"/>
  </ds:schemaRefs>
</ds:datastoreItem>
</file>

<file path=customXml/itemProps5.xml><?xml version="1.0" encoding="utf-8"?>
<ds:datastoreItem xmlns:ds="http://schemas.openxmlformats.org/officeDocument/2006/customXml" ds:itemID="{1111EBF2-223E-4C2F-A4C7-0BC9C2024074}">
  <ds:schemaRefs>
    <ds:schemaRef ds:uri="http://schemas.microsoft.com/edu/athena"/>
  </ds:schemaRefs>
</ds:datastoreItem>
</file>

<file path=customXml/itemProps6.xml><?xml version="1.0" encoding="utf-8"?>
<ds:datastoreItem xmlns:ds="http://schemas.openxmlformats.org/officeDocument/2006/customXml" ds:itemID="{A1C7E772-E0D8-438A-86DF-6DF90190710E}">
  <ds:schemaRefs>
    <ds:schemaRef ds:uri="http://schemas.microsoft.com/edu/athena"/>
  </ds:schemaRefs>
</ds:datastoreItem>
</file>

<file path=customXml/itemProps7.xml><?xml version="1.0" encoding="utf-8"?>
<ds:datastoreItem xmlns:ds="http://schemas.openxmlformats.org/officeDocument/2006/customXml" ds:itemID="{4299123F-198C-42B8-8002-9F3474CB95D8}">
  <ds:schemaRefs>
    <ds:schemaRef ds:uri="http://schemas.microsoft.com/edu/athena"/>
  </ds:schemaRefs>
</ds:datastoreItem>
</file>

<file path=customXml/itemProps8.xml><?xml version="1.0" encoding="utf-8"?>
<ds:datastoreItem xmlns:ds="http://schemas.openxmlformats.org/officeDocument/2006/customXml" ds:itemID="{BE5BE30A-814F-41C0-8FCB-41EE8CB60832}">
  <ds:schemaRefs>
    <ds:schemaRef ds:uri="http://schemas.microsoft.com/edu/athena"/>
  </ds:schemaRefs>
</ds:datastoreItem>
</file>

<file path=customXml/itemProps9.xml><?xml version="1.0" encoding="utf-8"?>
<ds:datastoreItem xmlns:ds="http://schemas.openxmlformats.org/officeDocument/2006/customXml" ds:itemID="{51687646-3217-4E0C-860D-181B27F50198}">
  <ds:schemaRefs>
    <ds:schemaRef ds:uri="http://schemas.microsoft.com/edu/athen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BMCouncil_2016_PPT_Template</Template>
  <TotalTime>19999</TotalTime>
  <Words>916</Words>
  <Application>Microsoft Office PowerPoint</Application>
  <PresentationFormat>On-screen Show (16:9)</PresentationFormat>
  <Paragraphs>123</Paragraphs>
  <Slides>1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31" baseType="lpstr">
      <vt:lpstr>ＭＳ Ｐゴシック</vt:lpstr>
      <vt:lpstr>Arial</vt:lpstr>
      <vt:lpstr>Calibri</vt:lpstr>
      <vt:lpstr>Verdana</vt:lpstr>
      <vt:lpstr>Wingdings</vt:lpstr>
      <vt:lpstr>Wingdings 3</vt:lpstr>
      <vt:lpstr>Apptio PowerPoint Calibri</vt:lpstr>
      <vt:lpstr>1_Sysco_CF_XSY018 v2</vt:lpstr>
      <vt:lpstr>6_Apptio PowerPoint Calibri</vt:lpstr>
      <vt:lpstr>5_Apptio PowerPoint Calibri</vt:lpstr>
      <vt:lpstr>7_Apptio PowerPoint Calibri</vt:lpstr>
      <vt:lpstr>TBM Council</vt:lpstr>
      <vt:lpstr>10_Apptio PowerPoint Calibri</vt:lpstr>
      <vt:lpstr>1_Apptio PowerPoint Calibri</vt:lpstr>
      <vt:lpstr>2_Apptio PowerPoint Calibri</vt:lpstr>
      <vt:lpstr>1_TBM Council</vt:lpstr>
      <vt:lpstr>think-cell Slide</vt:lpstr>
      <vt:lpstr>Taxonomy Evolution Sub-Committee Update</vt:lpstr>
      <vt:lpstr>Taxonomy Evolution Sub-Committee Purpose</vt:lpstr>
      <vt:lpstr>Taxonomy Evolution Focus for 2019</vt:lpstr>
      <vt:lpstr>Feedback on TBM Metrics</vt:lpstr>
      <vt:lpstr>Detailed Spreadsheet of Metrics</vt:lpstr>
      <vt:lpstr>Approach &amp; Deliverables</vt:lpstr>
      <vt:lpstr>Five Business Goals Enabled by IT</vt:lpstr>
      <vt:lpstr>Increase Innovation</vt:lpstr>
      <vt:lpstr>Increase Efficiency</vt:lpstr>
      <vt:lpstr>Increase Customer Satisfaction </vt:lpstr>
      <vt:lpstr>Increase Speed to Market </vt:lpstr>
      <vt:lpstr>Manage Risk</vt:lpstr>
      <vt:lpstr>Standard Metric Definition</vt:lpstr>
      <vt:lpstr>Thank You!</vt:lpstr>
    </vt:vector>
  </TitlesOfParts>
  <Company>Technology Business Management Council, Ltd.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BM Overview for OGBG</dc:title>
  <dc:subject/>
  <dc:creator>Todd Tucker</dc:creator>
  <cp:keywords>TBM Council</cp:keywords>
  <dc:description/>
  <cp:lastModifiedBy>Ed Hayman</cp:lastModifiedBy>
  <cp:revision>246</cp:revision>
  <cp:lastPrinted>2016-04-22T15:19:02Z</cp:lastPrinted>
  <dcterms:created xsi:type="dcterms:W3CDTF">2016-03-10T01:46:53Z</dcterms:created>
  <dcterms:modified xsi:type="dcterms:W3CDTF">2019-10-03T18:2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 Version">
    <vt:r8>2.5</vt:r8>
  </property>
  <property fmtid="{D5CDD505-2E9C-101B-9397-08002B2CF9AE}" pid="3" name="ContentTypeId">
    <vt:lpwstr>0x010100FF6BFE2F21F4B8498318C15CC5B787C7</vt:lpwstr>
  </property>
  <property fmtid="{D5CDD505-2E9C-101B-9397-08002B2CF9AE}" pid="4" name="Document Type">
    <vt:lpwstr>44;#Template|89d68c06-f4a2-4368-9e79-eea7d3731822</vt:lpwstr>
  </property>
  <property fmtid="{D5CDD505-2E9C-101B-9397-08002B2CF9AE}" pid="5" name="Audience">
    <vt:lpwstr>39;#Internal Only|a2e37386-5e81-4128-b303-128d081904b4</vt:lpwstr>
  </property>
  <property fmtid="{D5CDD505-2E9C-101B-9397-08002B2CF9AE}" pid="6" name="_dlc_DocIdItemGuid">
    <vt:lpwstr>915fcd43-391e-48eb-b14c-57c9701b4634</vt:lpwstr>
  </property>
  <property fmtid="{D5CDD505-2E9C-101B-9397-08002B2CF9AE}" pid="7" name="Document Status">
    <vt:lpwstr>35;#Published|e5aeccb0-75e5-4590-aed1-6c148212d739</vt:lpwstr>
  </property>
  <property fmtid="{D5CDD505-2E9C-101B-9397-08002B2CF9AE}" pid="8" name="MSIP_Label_b3106360-028e-4328-a781-d4e474c434bd_Enabled">
    <vt:lpwstr>True</vt:lpwstr>
  </property>
  <property fmtid="{D5CDD505-2E9C-101B-9397-08002B2CF9AE}" pid="9" name="MSIP_Label_b3106360-028e-4328-a781-d4e474c434bd_SiteId">
    <vt:lpwstr>97f6a076-8589-4443-8917-42cf94454bff</vt:lpwstr>
  </property>
  <property fmtid="{D5CDD505-2E9C-101B-9397-08002B2CF9AE}" pid="10" name="MSIP_Label_b3106360-028e-4328-a781-d4e474c434bd_Owner">
    <vt:lpwstr>ehayman@apptio.com</vt:lpwstr>
  </property>
  <property fmtid="{D5CDD505-2E9C-101B-9397-08002B2CF9AE}" pid="11" name="MSIP_Label_b3106360-028e-4328-a781-d4e474c434bd_SetDate">
    <vt:lpwstr>2019-10-03T18:18:22.3463707Z</vt:lpwstr>
  </property>
  <property fmtid="{D5CDD505-2E9C-101B-9397-08002B2CF9AE}" pid="12" name="MSIP_Label_b3106360-028e-4328-a781-d4e474c434bd_Name">
    <vt:lpwstr>Apptio General</vt:lpwstr>
  </property>
  <property fmtid="{D5CDD505-2E9C-101B-9397-08002B2CF9AE}" pid="13" name="MSIP_Label_b3106360-028e-4328-a781-d4e474c434bd_Application">
    <vt:lpwstr>Microsoft Azure Information Protection</vt:lpwstr>
  </property>
  <property fmtid="{D5CDD505-2E9C-101B-9397-08002B2CF9AE}" pid="14" name="MSIP_Label_b3106360-028e-4328-a781-d4e474c434bd_ActionId">
    <vt:lpwstr>f068d5ef-439c-4683-8ac7-0631adf191d8</vt:lpwstr>
  </property>
  <property fmtid="{D5CDD505-2E9C-101B-9397-08002B2CF9AE}" pid="15" name="MSIP_Label_b3106360-028e-4328-a781-d4e474c434bd_Extended_MSFT_Method">
    <vt:lpwstr>Automatic</vt:lpwstr>
  </property>
  <property fmtid="{D5CDD505-2E9C-101B-9397-08002B2CF9AE}" pid="16" name="Sensitivity">
    <vt:lpwstr>Apptio General</vt:lpwstr>
  </property>
</Properties>
</file>